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ebp"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34"/>
  </p:notesMasterIdLst>
  <p:handoutMasterIdLst>
    <p:handoutMasterId r:id="rId35"/>
  </p:handoutMasterIdLst>
  <p:sldIdLst>
    <p:sldId id="260" r:id="rId2"/>
    <p:sldId id="280" r:id="rId3"/>
    <p:sldId id="285" r:id="rId4"/>
    <p:sldId id="281" r:id="rId5"/>
    <p:sldId id="263" r:id="rId6"/>
    <p:sldId id="301" r:id="rId7"/>
    <p:sldId id="286" r:id="rId8"/>
    <p:sldId id="287" r:id="rId9"/>
    <p:sldId id="288" r:id="rId10"/>
    <p:sldId id="289" r:id="rId11"/>
    <p:sldId id="290" r:id="rId12"/>
    <p:sldId id="291" r:id="rId13"/>
    <p:sldId id="293" r:id="rId14"/>
    <p:sldId id="294" r:id="rId15"/>
    <p:sldId id="295" r:id="rId16"/>
    <p:sldId id="304" r:id="rId17"/>
    <p:sldId id="297" r:id="rId18"/>
    <p:sldId id="298" r:id="rId19"/>
    <p:sldId id="305" r:id="rId20"/>
    <p:sldId id="306" r:id="rId21"/>
    <p:sldId id="307" r:id="rId22"/>
    <p:sldId id="309" r:id="rId23"/>
    <p:sldId id="310" r:id="rId24"/>
    <p:sldId id="311" r:id="rId25"/>
    <p:sldId id="308" r:id="rId26"/>
    <p:sldId id="312" r:id="rId27"/>
    <p:sldId id="313" r:id="rId28"/>
    <p:sldId id="314" r:id="rId29"/>
    <p:sldId id="315" r:id="rId30"/>
    <p:sldId id="316" r:id="rId31"/>
    <p:sldId id="317" r:id="rId32"/>
    <p:sldId id="318" r:id="rId33"/>
  </p:sldIdLst>
  <p:sldSz cx="12192000" cy="6858000"/>
  <p:notesSz cx="6858000" cy="9144000"/>
  <p:custDataLst>
    <p:tags r:id="rId36"/>
  </p:custDataLst>
  <p:defaultTex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5CC"/>
    <a:srgbClr val="003B71"/>
    <a:srgbClr val="EF60A3"/>
    <a:srgbClr val="EB3300"/>
    <a:srgbClr val="F8A0C7"/>
    <a:srgbClr val="006D68"/>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BC89EF96-8CEA-46FF-86C4-4CE0E7609802}">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Stijl, licht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61" autoAdjust="0"/>
    <p:restoredTop sz="86715" autoAdjust="0"/>
  </p:normalViewPr>
  <p:slideViewPr>
    <p:cSldViewPr snapToGrid="0">
      <p:cViewPr varScale="1">
        <p:scale>
          <a:sx n="61" d="100"/>
          <a:sy n="61" d="100"/>
        </p:scale>
        <p:origin x="1020" y="66"/>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78" d="100"/>
          <a:sy n="78" d="100"/>
        </p:scale>
        <p:origin x="3246" y="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handoutMaster" Target="handoutMasters/handoutMaster1.xml"/><Relationship Id="rId8" Type="http://schemas.openxmlformats.org/officeDocument/2006/relationships/slide" Target="slides/slide7.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a:extLst>
              <a:ext uri="{FF2B5EF4-FFF2-40B4-BE49-F238E27FC236}">
                <a16:creationId xmlns="" xmlns:a16="http://schemas.microsoft.com/office/drawing/2014/main" id="{F1CAD667-2A00-493C-A1E2-E99FA2ED8A4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sz="1000"/>
          </a:p>
        </p:txBody>
      </p:sp>
      <p:sp>
        <p:nvSpPr>
          <p:cNvPr id="3" name="Tijdelijke aanduiding voor datum 2">
            <a:extLst>
              <a:ext uri="{FF2B5EF4-FFF2-40B4-BE49-F238E27FC236}">
                <a16:creationId xmlns="" xmlns:a16="http://schemas.microsoft.com/office/drawing/2014/main" id="{7DF8B581-B867-4D90-8C4C-FD1F79EE983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0BE8D4D-3140-41BA-A79C-1AD055B921E2}" type="datetimeFigureOut">
              <a:rPr lang="nl-NL" sz="1000" smtClean="0"/>
              <a:t>12-8-2019</a:t>
            </a:fld>
            <a:endParaRPr lang="nl-NL" sz="1000"/>
          </a:p>
        </p:txBody>
      </p:sp>
      <p:sp>
        <p:nvSpPr>
          <p:cNvPr id="4" name="Tijdelijke aanduiding voor voettekst 3">
            <a:extLst>
              <a:ext uri="{FF2B5EF4-FFF2-40B4-BE49-F238E27FC236}">
                <a16:creationId xmlns="" xmlns:a16="http://schemas.microsoft.com/office/drawing/2014/main" id="{0D2042AF-312B-493D-B388-41A1AB32431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sz="1000"/>
          </a:p>
        </p:txBody>
      </p:sp>
      <p:sp>
        <p:nvSpPr>
          <p:cNvPr id="5" name="Tijdelijke aanduiding voor dianummer 4">
            <a:extLst>
              <a:ext uri="{FF2B5EF4-FFF2-40B4-BE49-F238E27FC236}">
                <a16:creationId xmlns="" xmlns:a16="http://schemas.microsoft.com/office/drawing/2014/main" id="{AFFD5A2D-B931-4E20-B602-B58D1FADDA1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E328935-54F3-4C36-9408-B9AC0AF6C724}" type="slidenum">
              <a:rPr lang="nl-NL" sz="1000" smtClean="0"/>
              <a:t>‹nr.›</a:t>
            </a:fld>
            <a:endParaRPr lang="nl-NL" sz="1000"/>
          </a:p>
        </p:txBody>
      </p:sp>
    </p:spTree>
    <p:extLst>
      <p:ext uri="{BB962C8B-B14F-4D97-AF65-F5344CB8AC3E}">
        <p14:creationId xmlns:p14="http://schemas.microsoft.com/office/powerpoint/2010/main" val="34039649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lvl1pPr>
          </a:lstStyle>
          <a:p>
            <a:fld id="{9DFEFA3C-2DEF-40D2-A471-2C571636A9DD}" type="datetimeFigureOut">
              <a:rPr lang="nl-NL" smtClean="0"/>
              <a:pPr/>
              <a:t>12-8-2019</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lvl1pPr>
          </a:lstStyle>
          <a:p>
            <a:fld id="{A79AE335-0DDF-418E-BF9C-7F1AAA98D7DC}" type="slidenum">
              <a:rPr lang="nl-NL" smtClean="0"/>
              <a:pPr/>
              <a:t>‹nr.›</a:t>
            </a:fld>
            <a:endParaRPr lang="nl-NL"/>
          </a:p>
        </p:txBody>
      </p:sp>
    </p:spTree>
    <p:extLst>
      <p:ext uri="{BB962C8B-B14F-4D97-AF65-F5344CB8AC3E}">
        <p14:creationId xmlns:p14="http://schemas.microsoft.com/office/powerpoint/2010/main" val="1072159711"/>
      </p:ext>
    </p:extLst>
  </p:cSld>
  <p:clrMap bg1="lt1" tx1="dk1" bg2="lt2" tx2="dk2" accent1="accent1" accent2="accent2" accent3="accent3" accent4="accent4" accent5="accent5" accent6="accent6" hlink="hlink" folHlink="folHlink"/>
  <p:notesStyle>
    <a:lvl1pPr marL="0" algn="l" defTabSz="1219170" rtl="0" eaLnBrk="1" latinLnBrk="0" hangingPunct="1">
      <a:defRPr sz="1200" kern="1200">
        <a:solidFill>
          <a:schemeClr val="tx1"/>
        </a:solidFill>
        <a:latin typeface="+mn-lt"/>
        <a:ea typeface="+mn-ea"/>
        <a:cs typeface="+mn-cs"/>
      </a:defRPr>
    </a:lvl1pPr>
    <a:lvl2pPr marL="609585" algn="l" defTabSz="1219170" rtl="0" eaLnBrk="1" latinLnBrk="0" hangingPunct="1">
      <a:defRPr sz="1200" kern="1200">
        <a:solidFill>
          <a:schemeClr val="tx1"/>
        </a:solidFill>
        <a:latin typeface="+mn-lt"/>
        <a:ea typeface="+mn-ea"/>
        <a:cs typeface="+mn-cs"/>
      </a:defRPr>
    </a:lvl2pPr>
    <a:lvl3pPr marL="1219170" algn="l" defTabSz="1219170" rtl="0" eaLnBrk="1" latinLnBrk="0" hangingPunct="1">
      <a:defRPr sz="1200" kern="1200">
        <a:solidFill>
          <a:schemeClr val="tx1"/>
        </a:solidFill>
        <a:latin typeface="+mn-lt"/>
        <a:ea typeface="+mn-ea"/>
        <a:cs typeface="+mn-cs"/>
      </a:defRPr>
    </a:lvl3pPr>
    <a:lvl4pPr marL="1828754" algn="l" defTabSz="1219170" rtl="0" eaLnBrk="1" latinLnBrk="0" hangingPunct="1">
      <a:defRPr sz="1200" kern="1200">
        <a:solidFill>
          <a:schemeClr val="tx1"/>
        </a:solidFill>
        <a:latin typeface="+mn-lt"/>
        <a:ea typeface="+mn-ea"/>
        <a:cs typeface="+mn-cs"/>
      </a:defRPr>
    </a:lvl4pPr>
    <a:lvl5pPr marL="2438339" algn="l" defTabSz="1219170" rtl="0" eaLnBrk="1" latinLnBrk="0" hangingPunct="1">
      <a:defRPr sz="1200" kern="1200">
        <a:solidFill>
          <a:schemeClr val="tx1"/>
        </a:solidFill>
        <a:latin typeface="+mn-lt"/>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A79AE335-0DDF-418E-BF9C-7F1AAA98D7DC}" type="slidenum">
              <a:rPr lang="nl-NL" smtClean="0"/>
              <a:pPr/>
              <a:t>7</a:t>
            </a:fld>
            <a:endParaRPr lang="nl-NL"/>
          </a:p>
        </p:txBody>
      </p:sp>
    </p:spTree>
    <p:extLst>
      <p:ext uri="{BB962C8B-B14F-4D97-AF65-F5344CB8AC3E}">
        <p14:creationId xmlns:p14="http://schemas.microsoft.com/office/powerpoint/2010/main" val="25664024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A79AE335-0DDF-418E-BF9C-7F1AAA98D7DC}" type="slidenum">
              <a:rPr lang="nl-NL" smtClean="0"/>
              <a:pPr/>
              <a:t>8</a:t>
            </a:fld>
            <a:endParaRPr lang="nl-NL"/>
          </a:p>
        </p:txBody>
      </p:sp>
    </p:spTree>
    <p:extLst>
      <p:ext uri="{BB962C8B-B14F-4D97-AF65-F5344CB8AC3E}">
        <p14:creationId xmlns:p14="http://schemas.microsoft.com/office/powerpoint/2010/main" val="40697461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A79AE335-0DDF-418E-BF9C-7F1AAA98D7DC}" type="slidenum">
              <a:rPr lang="nl-NL" smtClean="0"/>
              <a:pPr/>
              <a:t>9</a:t>
            </a:fld>
            <a:endParaRPr lang="nl-NL"/>
          </a:p>
        </p:txBody>
      </p:sp>
    </p:spTree>
    <p:extLst>
      <p:ext uri="{BB962C8B-B14F-4D97-AF65-F5344CB8AC3E}">
        <p14:creationId xmlns:p14="http://schemas.microsoft.com/office/powerpoint/2010/main" val="9366486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smtClean="0"/>
              <a:t>Gesproken tekst omzetten in getypte tekst met een gratis functie</a:t>
            </a:r>
            <a:r>
              <a:rPr lang="nl-NL" baseline="0" dirty="0" smtClean="0"/>
              <a:t> op de iPhone. Niet te verwarren met microfoon in WhatsApp voor spraakberichten</a:t>
            </a:r>
            <a:endParaRPr lang="nl-NL" dirty="0"/>
          </a:p>
        </p:txBody>
      </p:sp>
      <p:sp>
        <p:nvSpPr>
          <p:cNvPr id="4" name="Tijdelijke aanduiding voor dianummer 3"/>
          <p:cNvSpPr>
            <a:spLocks noGrp="1"/>
          </p:cNvSpPr>
          <p:nvPr>
            <p:ph type="sldNum" sz="quarter" idx="10"/>
          </p:nvPr>
        </p:nvSpPr>
        <p:spPr/>
        <p:txBody>
          <a:bodyPr/>
          <a:lstStyle/>
          <a:p>
            <a:fld id="{A79AE335-0DDF-418E-BF9C-7F1AAA98D7DC}" type="slidenum">
              <a:rPr lang="nl-NL" smtClean="0"/>
              <a:pPr/>
              <a:t>10</a:t>
            </a:fld>
            <a:endParaRPr lang="nl-NL"/>
          </a:p>
        </p:txBody>
      </p:sp>
    </p:spTree>
    <p:extLst>
      <p:ext uri="{BB962C8B-B14F-4D97-AF65-F5344CB8AC3E}">
        <p14:creationId xmlns:p14="http://schemas.microsoft.com/office/powerpoint/2010/main" val="13610429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A79AE335-0DDF-418E-BF9C-7F1AAA98D7DC}" type="slidenum">
              <a:rPr lang="nl-NL" smtClean="0"/>
              <a:pPr/>
              <a:t>11</a:t>
            </a:fld>
            <a:endParaRPr lang="nl-NL"/>
          </a:p>
        </p:txBody>
      </p:sp>
    </p:spTree>
    <p:extLst>
      <p:ext uri="{BB962C8B-B14F-4D97-AF65-F5344CB8AC3E}">
        <p14:creationId xmlns:p14="http://schemas.microsoft.com/office/powerpoint/2010/main" val="22116253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A79AE335-0DDF-418E-BF9C-7F1AAA98D7DC}" type="slidenum">
              <a:rPr lang="nl-NL" smtClean="0"/>
              <a:pPr/>
              <a:t>12</a:t>
            </a:fld>
            <a:endParaRPr lang="nl-NL"/>
          </a:p>
        </p:txBody>
      </p:sp>
    </p:spTree>
    <p:extLst>
      <p:ext uri="{BB962C8B-B14F-4D97-AF65-F5344CB8AC3E}">
        <p14:creationId xmlns:p14="http://schemas.microsoft.com/office/powerpoint/2010/main" val="14876550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A79AE335-0DDF-418E-BF9C-7F1AAA98D7DC}" type="slidenum">
              <a:rPr lang="nl-NL" smtClean="0"/>
              <a:pPr/>
              <a:t>16</a:t>
            </a:fld>
            <a:endParaRPr lang="nl-NL"/>
          </a:p>
        </p:txBody>
      </p:sp>
    </p:spTree>
    <p:extLst>
      <p:ext uri="{BB962C8B-B14F-4D97-AF65-F5344CB8AC3E}">
        <p14:creationId xmlns:p14="http://schemas.microsoft.com/office/powerpoint/2010/main" val="10193362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smtClean="0"/>
              <a:t>https://itunes.apple.com/us/app/feedly-smart-news-reader/id396069556?mt=8</a:t>
            </a:r>
            <a:endParaRPr lang="nl-NL" dirty="0"/>
          </a:p>
        </p:txBody>
      </p:sp>
      <p:sp>
        <p:nvSpPr>
          <p:cNvPr id="4" name="Tijdelijke aanduiding voor dianummer 3"/>
          <p:cNvSpPr>
            <a:spLocks noGrp="1"/>
          </p:cNvSpPr>
          <p:nvPr>
            <p:ph type="sldNum" sz="quarter" idx="10"/>
          </p:nvPr>
        </p:nvSpPr>
        <p:spPr/>
        <p:txBody>
          <a:bodyPr/>
          <a:lstStyle/>
          <a:p>
            <a:fld id="{A79AE335-0DDF-418E-BF9C-7F1AAA98D7DC}" type="slidenum">
              <a:rPr lang="nl-NL" smtClean="0"/>
              <a:pPr/>
              <a:t>18</a:t>
            </a:fld>
            <a:endParaRPr lang="nl-NL"/>
          </a:p>
        </p:txBody>
      </p:sp>
    </p:spTree>
    <p:extLst>
      <p:ext uri="{BB962C8B-B14F-4D97-AF65-F5344CB8AC3E}">
        <p14:creationId xmlns:p14="http://schemas.microsoft.com/office/powerpoint/2010/main" val="39468245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smtClean="0"/>
              <a:t>Nadia</a:t>
            </a:r>
            <a:endParaRPr lang="nl-NL" dirty="0"/>
          </a:p>
        </p:txBody>
      </p:sp>
      <p:sp>
        <p:nvSpPr>
          <p:cNvPr id="4" name="Tijdelijke aanduiding voor dianummer 3"/>
          <p:cNvSpPr>
            <a:spLocks noGrp="1"/>
          </p:cNvSpPr>
          <p:nvPr>
            <p:ph type="sldNum" sz="quarter" idx="10"/>
          </p:nvPr>
        </p:nvSpPr>
        <p:spPr/>
        <p:txBody>
          <a:bodyPr/>
          <a:lstStyle/>
          <a:p>
            <a:fld id="{A79AE335-0DDF-418E-BF9C-7F1AAA98D7DC}" type="slidenum">
              <a:rPr lang="nl-NL" smtClean="0"/>
              <a:pPr/>
              <a:t>32</a:t>
            </a:fld>
            <a:endParaRPr lang="nl-NL"/>
          </a:p>
        </p:txBody>
      </p:sp>
    </p:spTree>
    <p:extLst>
      <p:ext uri="{BB962C8B-B14F-4D97-AF65-F5344CB8AC3E}">
        <p14:creationId xmlns:p14="http://schemas.microsoft.com/office/powerpoint/2010/main" val="24457853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5.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27.xml"/><Relationship Id="rId7" Type="http://schemas.openxmlformats.org/officeDocument/2006/relationships/image" Target="../media/image9.png"/><Relationship Id="rId12" Type="http://schemas.openxmlformats.org/officeDocument/2006/relationships/image" Target="../media/image14.png"/><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11" Type="http://schemas.openxmlformats.org/officeDocument/2006/relationships/image" Target="../media/image13.png"/><Relationship Id="rId5" Type="http://schemas.openxmlformats.org/officeDocument/2006/relationships/oleObject" Target="../embeddings/oleObject13.bin"/><Relationship Id="rId10" Type="http://schemas.openxmlformats.org/officeDocument/2006/relationships/image" Target="../media/image12.png"/><Relationship Id="rId4" Type="http://schemas.openxmlformats.org/officeDocument/2006/relationships/slideMaster" Target="../slideMasters/slideMaster1.xml"/><Relationship Id="rId9" Type="http://schemas.openxmlformats.org/officeDocument/2006/relationships/image" Target="../media/image11.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9.xml"/><Relationship Id="rId7" Type="http://schemas.openxmlformats.org/officeDocument/2006/relationships/image" Target="../media/image6.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 Id="rId9" Type="http://schemas.openxmlformats.org/officeDocument/2006/relationships/image" Target="../media/image8.emf"/></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3.xml"/><Relationship Id="rId7" Type="http://schemas.openxmlformats.org/officeDocument/2006/relationships/image" Target="../media/image8.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 Id="rId9" Type="http://schemas.openxmlformats.org/officeDocument/2006/relationships/image" Target="../media/image7.png"/></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7.xml"/><Relationship Id="rId7" Type="http://schemas.openxmlformats.org/officeDocument/2006/relationships/image" Target="../media/image8.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 Id="rId9" Type="http://schemas.openxmlformats.org/officeDocument/2006/relationships/image" Target="../media/image7.png"/></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di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C97EB319-B32A-487C-8FA7-375AF065E1EA}"/>
              </a:ext>
            </a:extLst>
          </p:cNvPr>
          <p:cNvGraphicFramePr>
            <a:graphicFrameLocks noChangeAspect="1"/>
          </p:cNvGraphicFramePr>
          <p:nvPr userDrawn="1">
            <p:custDataLst>
              <p:tags r:id="rId2"/>
            </p:custDataLst>
            <p:extLst>
              <p:ext uri="{D42A27DB-BD31-4B8C-83A1-F6EECF244321}">
                <p14:modId xmlns:p14="http://schemas.microsoft.com/office/powerpoint/2010/main" val="3536017464"/>
              </p:ext>
            </p:extLst>
          </p:nvPr>
        </p:nvGraphicFramePr>
        <p:xfrm>
          <a:off x="2118" y="1589"/>
          <a:ext cx="2117" cy="1588"/>
        </p:xfrm>
        <a:graphic>
          <a:graphicData uri="http://schemas.openxmlformats.org/presentationml/2006/ole">
            <mc:AlternateContent xmlns:mc="http://schemas.openxmlformats.org/markup-compatibility/2006">
              <mc:Choice xmlns:v="urn:schemas-microsoft-com:vml" Requires="v">
                <p:oleObj spid="_x0000_s11352" name="think-cell Slide" r:id="rId5" imgW="338" imgH="337" progId="TCLayout.ActiveDocument.1">
                  <p:embed/>
                </p:oleObj>
              </mc:Choice>
              <mc:Fallback>
                <p:oleObj name="think-cell Slide" r:id="rId5" imgW="338" imgH="337" progId="TCLayout.ActiveDocument.1">
                  <p:embed/>
                  <p:pic>
                    <p:nvPicPr>
                      <p:cNvPr id="5" name="Object 4" hidden="1">
                        <a:extLst>
                          <a:ext uri="{FF2B5EF4-FFF2-40B4-BE49-F238E27FC236}">
                            <a16:creationId xmlns="" xmlns:a16="http://schemas.microsoft.com/office/drawing/2014/main" id="{C97EB319-B32A-487C-8FA7-375AF065E1EA}"/>
                          </a:ext>
                        </a:extLst>
                      </p:cNvPr>
                      <p:cNvPicPr/>
                      <p:nvPr/>
                    </p:nvPicPr>
                    <p:blipFill>
                      <a:blip r:embed="rId6"/>
                      <a:stretch>
                        <a:fillRect/>
                      </a:stretch>
                    </p:blipFill>
                    <p:spPr>
                      <a:xfrm>
                        <a:off x="2118" y="1589"/>
                        <a:ext cx="2117" cy="1588"/>
                      </a:xfrm>
                      <a:prstGeom prst="rect">
                        <a:avLst/>
                      </a:prstGeom>
                    </p:spPr>
                  </p:pic>
                </p:oleObj>
              </mc:Fallback>
            </mc:AlternateContent>
          </a:graphicData>
        </a:graphic>
      </p:graphicFrame>
      <p:sp>
        <p:nvSpPr>
          <p:cNvPr id="4" name="Rechthoek 3" hidden="1">
            <a:extLst>
              <a:ext uri="{FF2B5EF4-FFF2-40B4-BE49-F238E27FC236}">
                <a16:creationId xmlns="" xmlns:a16="http://schemas.microsoft.com/office/drawing/2014/main" id="{235E6390-DF67-40F3-892D-28808CC27CF2}"/>
              </a:ext>
            </a:extLst>
          </p:cNvPr>
          <p:cNvSpPr/>
          <p:nvPr userDrawn="1">
            <p:custDataLst>
              <p:tags r:id="rId3"/>
            </p:custDataLst>
          </p:nvPr>
        </p:nvSpPr>
        <p:spPr>
          <a:xfrm>
            <a:off x="0" y="1"/>
            <a:ext cx="211667"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nl-NL" sz="3200" b="1"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8" name="Vrije vorm: vorm 27">
            <a:extLst>
              <a:ext uri="{FF2B5EF4-FFF2-40B4-BE49-F238E27FC236}">
                <a16:creationId xmlns="" xmlns:a16="http://schemas.microsoft.com/office/drawing/2014/main" id="{B217E59F-FD52-431C-9926-D78175BC0949}"/>
              </a:ext>
            </a:extLst>
          </p:cNvPr>
          <p:cNvSpPr>
            <a:spLocks/>
          </p:cNvSpPr>
          <p:nvPr userDrawn="1"/>
        </p:nvSpPr>
        <p:spPr bwMode="auto">
          <a:xfrm>
            <a:off x="-3176" y="5838996"/>
            <a:ext cx="12196800" cy="1019004"/>
          </a:xfrm>
          <a:custGeom>
            <a:avLst/>
            <a:gdLst>
              <a:gd name="connsiteX0" fmla="*/ 531572 w 12196800"/>
              <a:gd name="connsiteY0" fmla="*/ 684 h 1019004"/>
              <a:gd name="connsiteX1" fmla="*/ 597522 w 12196800"/>
              <a:gd name="connsiteY1" fmla="*/ 9767 h 1019004"/>
              <a:gd name="connsiteX2" fmla="*/ 600701 w 12196800"/>
              <a:gd name="connsiteY2" fmla="*/ 9767 h 1019004"/>
              <a:gd name="connsiteX3" fmla="*/ 937601 w 12196800"/>
              <a:gd name="connsiteY3" fmla="*/ 426961 h 1019004"/>
              <a:gd name="connsiteX4" fmla="*/ 937601 w 12196800"/>
              <a:gd name="connsiteY4" fmla="*/ 462262 h 1019004"/>
              <a:gd name="connsiteX5" fmla="*/ 947136 w 12196800"/>
              <a:gd name="connsiteY5" fmla="*/ 497564 h 1019004"/>
              <a:gd name="connsiteX6" fmla="*/ 1093338 w 12196800"/>
              <a:gd name="connsiteY6" fmla="*/ 548911 h 1019004"/>
              <a:gd name="connsiteX7" fmla="*/ 1134656 w 12196800"/>
              <a:gd name="connsiteY7" fmla="*/ 516819 h 1019004"/>
              <a:gd name="connsiteX8" fmla="*/ 1150548 w 12196800"/>
              <a:gd name="connsiteY8" fmla="*/ 487936 h 1019004"/>
              <a:gd name="connsiteX9" fmla="*/ 1525588 w 12196800"/>
              <a:gd name="connsiteY9" fmla="*/ 276129 h 1019004"/>
              <a:gd name="connsiteX10" fmla="*/ 5615335 w 12196800"/>
              <a:gd name="connsiteY10" fmla="*/ 276129 h 1019004"/>
              <a:gd name="connsiteX11" fmla="*/ 5840449 w 12196800"/>
              <a:gd name="connsiteY11" fmla="*/ 276129 h 1019004"/>
              <a:gd name="connsiteX12" fmla="*/ 5840449 w 12196800"/>
              <a:gd name="connsiteY12" fmla="*/ 276053 h 1019004"/>
              <a:gd name="connsiteX13" fmla="*/ 12195175 w 12196800"/>
              <a:gd name="connsiteY13" fmla="*/ 276053 h 1019004"/>
              <a:gd name="connsiteX14" fmla="*/ 12195175 w 12196800"/>
              <a:gd name="connsiteY14" fmla="*/ 866604 h 1019004"/>
              <a:gd name="connsiteX15" fmla="*/ 12196800 w 12196800"/>
              <a:gd name="connsiteY15" fmla="*/ 866604 h 1019004"/>
              <a:gd name="connsiteX16" fmla="*/ 12196800 w 12196800"/>
              <a:gd name="connsiteY16" fmla="*/ 1019004 h 1019004"/>
              <a:gd name="connsiteX17" fmla="*/ 12195175 w 12196800"/>
              <a:gd name="connsiteY17" fmla="*/ 1019004 h 1019004"/>
              <a:gd name="connsiteX18" fmla="*/ 0 w 12196800"/>
              <a:gd name="connsiteY18" fmla="*/ 1019004 h 1019004"/>
              <a:gd name="connsiteX19" fmla="*/ 0 w 12196800"/>
              <a:gd name="connsiteY19" fmla="*/ 1014243 h 1019004"/>
              <a:gd name="connsiteX20" fmla="*/ 0 w 12196800"/>
              <a:gd name="connsiteY20" fmla="*/ 866604 h 1019004"/>
              <a:gd name="connsiteX21" fmla="*/ 0 w 12196800"/>
              <a:gd name="connsiteY21" fmla="*/ 282548 h 1019004"/>
              <a:gd name="connsiteX22" fmla="*/ 31783 w 12196800"/>
              <a:gd name="connsiteY22" fmla="*/ 282548 h 1019004"/>
              <a:gd name="connsiteX23" fmla="*/ 88993 w 12196800"/>
              <a:gd name="connsiteY23" fmla="*/ 266502 h 1019004"/>
              <a:gd name="connsiteX24" fmla="*/ 130311 w 12196800"/>
              <a:gd name="connsiteY24" fmla="*/ 227992 h 1019004"/>
              <a:gd name="connsiteX25" fmla="*/ 136667 w 12196800"/>
              <a:gd name="connsiteY25" fmla="*/ 211946 h 1019004"/>
              <a:gd name="connsiteX26" fmla="*/ 531572 w 12196800"/>
              <a:gd name="connsiteY26" fmla="*/ 684 h 1019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196800" h="1019004">
                <a:moveTo>
                  <a:pt x="531572" y="684"/>
                </a:moveTo>
                <a:cubicBezTo>
                  <a:pt x="553622" y="1944"/>
                  <a:pt x="575671" y="4953"/>
                  <a:pt x="597522" y="9767"/>
                </a:cubicBezTo>
                <a:lnTo>
                  <a:pt x="600701" y="9767"/>
                </a:lnTo>
                <a:cubicBezTo>
                  <a:pt x="791399" y="51486"/>
                  <a:pt x="937601" y="224782"/>
                  <a:pt x="937601" y="426961"/>
                </a:cubicBezTo>
                <a:lnTo>
                  <a:pt x="937601" y="462262"/>
                </a:lnTo>
                <a:cubicBezTo>
                  <a:pt x="937601" y="471890"/>
                  <a:pt x="940780" y="484727"/>
                  <a:pt x="947136" y="497564"/>
                </a:cubicBezTo>
                <a:cubicBezTo>
                  <a:pt x="972563" y="552120"/>
                  <a:pt x="1039307" y="577793"/>
                  <a:pt x="1093338" y="548911"/>
                </a:cubicBezTo>
                <a:cubicBezTo>
                  <a:pt x="1109230" y="542492"/>
                  <a:pt x="1125121" y="529655"/>
                  <a:pt x="1134656" y="516819"/>
                </a:cubicBezTo>
                <a:lnTo>
                  <a:pt x="1150548" y="487936"/>
                </a:lnTo>
                <a:cubicBezTo>
                  <a:pt x="1230006" y="349941"/>
                  <a:pt x="1376208" y="276129"/>
                  <a:pt x="1525588" y="276129"/>
                </a:cubicBezTo>
                <a:lnTo>
                  <a:pt x="5615335" y="276129"/>
                </a:lnTo>
                <a:lnTo>
                  <a:pt x="5840449" y="276129"/>
                </a:lnTo>
                <a:lnTo>
                  <a:pt x="5840449" y="276053"/>
                </a:lnTo>
                <a:lnTo>
                  <a:pt x="12195175" y="276053"/>
                </a:lnTo>
                <a:lnTo>
                  <a:pt x="12195175" y="866604"/>
                </a:lnTo>
                <a:lnTo>
                  <a:pt x="12196800" y="866604"/>
                </a:lnTo>
                <a:lnTo>
                  <a:pt x="12196800" y="1019004"/>
                </a:lnTo>
                <a:lnTo>
                  <a:pt x="12195175" y="1019004"/>
                </a:lnTo>
                <a:lnTo>
                  <a:pt x="0" y="1019004"/>
                </a:lnTo>
                <a:lnTo>
                  <a:pt x="0" y="1014243"/>
                </a:lnTo>
                <a:lnTo>
                  <a:pt x="0" y="866604"/>
                </a:lnTo>
                <a:lnTo>
                  <a:pt x="0" y="282548"/>
                </a:lnTo>
                <a:lnTo>
                  <a:pt x="31783" y="282548"/>
                </a:lnTo>
                <a:cubicBezTo>
                  <a:pt x="50853" y="282548"/>
                  <a:pt x="69923" y="276129"/>
                  <a:pt x="88993" y="266502"/>
                </a:cubicBezTo>
                <a:cubicBezTo>
                  <a:pt x="104884" y="256874"/>
                  <a:pt x="120776" y="244037"/>
                  <a:pt x="130311" y="227992"/>
                </a:cubicBezTo>
                <a:lnTo>
                  <a:pt x="136667" y="211946"/>
                </a:lnTo>
                <a:cubicBezTo>
                  <a:pt x="222879" y="68735"/>
                  <a:pt x="377226" y="-8135"/>
                  <a:pt x="531572" y="684"/>
                </a:cubicBezTo>
                <a:close/>
              </a:path>
            </a:pathLst>
          </a:custGeom>
          <a:solidFill>
            <a:schemeClr val="bg1"/>
          </a:solidFill>
          <a:ln>
            <a:noFill/>
          </a:ln>
          <a:extLst/>
        </p:spPr>
        <p:txBody>
          <a:bodyPr vert="horz" wrap="square" lIns="91440" tIns="45720" rIns="91440" bIns="45720" numCol="1" anchor="t" anchorCtr="0" compatLnSpc="1">
            <a:prstTxWarp prst="textNoShape">
              <a:avLst/>
            </a:prstTxWarp>
            <a:noAutofit/>
          </a:bodyPr>
          <a:lstStyle/>
          <a:p>
            <a:endParaRPr lang="nl-NL" sz="1800"/>
          </a:p>
        </p:txBody>
      </p:sp>
      <p:sp>
        <p:nvSpPr>
          <p:cNvPr id="3" name="Vertical Text Placeholder 2"/>
          <p:cNvSpPr>
            <a:spLocks noGrp="1"/>
          </p:cNvSpPr>
          <p:nvPr>
            <p:ph type="body" orient="vert" idx="1" hasCustomPrompt="1"/>
          </p:nvPr>
        </p:nvSpPr>
        <p:spPr>
          <a:xfrm>
            <a:off x="958852" y="2402047"/>
            <a:ext cx="5310000" cy="341240"/>
          </a:xfrm>
        </p:spPr>
        <p:txBody>
          <a:bodyPr vert="horz" anchor="ctr"/>
          <a:lstStyle>
            <a:lvl1pPr marL="0" indent="0">
              <a:buNone/>
              <a:defRPr sz="2133">
                <a:solidFill>
                  <a:schemeClr val="bg1"/>
                </a:solidFill>
              </a:defRPr>
            </a:lvl1pPr>
          </a:lstStyle>
          <a:p>
            <a:pPr lvl="0"/>
            <a:r>
              <a:rPr lang="nl-NL" dirty="0"/>
              <a:t>Plaats hier eventueel een subtitel</a:t>
            </a:r>
            <a:endParaRPr lang="en-US" dirty="0"/>
          </a:p>
        </p:txBody>
      </p:sp>
      <p:sp>
        <p:nvSpPr>
          <p:cNvPr id="2" name="Title 1"/>
          <p:cNvSpPr>
            <a:spLocks noGrp="1"/>
          </p:cNvSpPr>
          <p:nvPr>
            <p:ph type="title" hasCustomPrompt="1"/>
          </p:nvPr>
        </p:nvSpPr>
        <p:spPr>
          <a:xfrm>
            <a:off x="958851" y="859580"/>
            <a:ext cx="5311320" cy="886397"/>
          </a:xfrm>
        </p:spPr>
        <p:txBody>
          <a:bodyPr anchor="t"/>
          <a:lstStyle>
            <a:lvl1pPr>
              <a:defRPr sz="3200" b="1">
                <a:solidFill>
                  <a:schemeClr val="bg1"/>
                </a:solidFill>
                <a:latin typeface="Calibri" panose="020F0502020204030204" pitchFamily="34" charset="0"/>
                <a:cs typeface="Calibri" panose="020F0502020204030204" pitchFamily="34" charset="0"/>
              </a:defRPr>
            </a:lvl1pPr>
          </a:lstStyle>
          <a:p>
            <a:r>
              <a:rPr lang="nl-NL" dirty="0"/>
              <a:t>Plaats hier een korte</a:t>
            </a:r>
            <a:br>
              <a:rPr lang="nl-NL" dirty="0"/>
            </a:br>
            <a:r>
              <a:rPr lang="nl-NL" dirty="0"/>
              <a:t>titel, maximaal over 3 regels</a:t>
            </a:r>
            <a:endParaRPr lang="en-US" dirty="0"/>
          </a:p>
        </p:txBody>
      </p:sp>
      <p:sp>
        <p:nvSpPr>
          <p:cNvPr id="126" name="Vertical Text Placeholder 2">
            <a:extLst>
              <a:ext uri="{FF2B5EF4-FFF2-40B4-BE49-F238E27FC236}">
                <a16:creationId xmlns="" xmlns:a16="http://schemas.microsoft.com/office/drawing/2014/main" id="{28A789AC-FB9D-4045-B690-7A03BF0BEE3D}"/>
              </a:ext>
            </a:extLst>
          </p:cNvPr>
          <p:cNvSpPr>
            <a:spLocks noGrp="1"/>
          </p:cNvSpPr>
          <p:nvPr>
            <p:ph type="body" orient="vert" idx="17" hasCustomPrompt="1"/>
          </p:nvPr>
        </p:nvSpPr>
        <p:spPr>
          <a:xfrm>
            <a:off x="958852" y="2956159"/>
            <a:ext cx="4676838" cy="2455024"/>
          </a:xfrm>
        </p:spPr>
        <p:txBody>
          <a:bodyPr vert="horz" anchor="t"/>
          <a:lstStyle>
            <a:lvl1pPr marL="0" indent="0">
              <a:buNone/>
              <a:defRPr sz="1867">
                <a:solidFill>
                  <a:schemeClr val="bg1"/>
                </a:solidFill>
                <a:latin typeface="Calibri Light" panose="020F0302020204030204" pitchFamily="34" charset="0"/>
                <a:cs typeface="Calibri Light" panose="020F0302020204030204" pitchFamily="34" charset="0"/>
              </a:defRPr>
            </a:lvl1pPr>
          </a:lstStyle>
          <a:p>
            <a:pPr lvl="0"/>
            <a:r>
              <a:rPr lang="nl-NL" dirty="0"/>
              <a:t>Plaats hier eventueel een korte toelichting</a:t>
            </a:r>
            <a:endParaRPr lang="en-US" dirty="0"/>
          </a:p>
        </p:txBody>
      </p:sp>
      <p:pic>
        <p:nvPicPr>
          <p:cNvPr id="23" name="Afbeelding 22">
            <a:extLst>
              <a:ext uri="{FF2B5EF4-FFF2-40B4-BE49-F238E27FC236}">
                <a16:creationId xmlns="" xmlns:a16="http://schemas.microsoft.com/office/drawing/2014/main" id="{B3C50949-739A-4ACD-B443-B870C85DA25F}"/>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7420" t="12025" r="18511" b="32743"/>
          <a:stretch/>
        </p:blipFill>
        <p:spPr>
          <a:xfrm>
            <a:off x="10797487" y="6216121"/>
            <a:ext cx="871325" cy="603779"/>
          </a:xfrm>
          <a:prstGeom prst="rect">
            <a:avLst/>
          </a:prstGeom>
        </p:spPr>
      </p:pic>
      <p:sp>
        <p:nvSpPr>
          <p:cNvPr id="18" name="Rechthoek 17">
            <a:extLst>
              <a:ext uri="{FF2B5EF4-FFF2-40B4-BE49-F238E27FC236}">
                <a16:creationId xmlns="" xmlns:a16="http://schemas.microsoft.com/office/drawing/2014/main" id="{50FB2CD2-2939-429D-B8CB-172618F1F548}"/>
              </a:ext>
            </a:extLst>
          </p:cNvPr>
          <p:cNvSpPr/>
          <p:nvPr userDrawn="1"/>
        </p:nvSpPr>
        <p:spPr>
          <a:xfrm>
            <a:off x="7914266" y="2288561"/>
            <a:ext cx="1408257" cy="15234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solidFill>
                <a:schemeClr val="tx1"/>
              </a:solidFill>
            </a:endParaRPr>
          </a:p>
        </p:txBody>
      </p:sp>
      <p:sp>
        <p:nvSpPr>
          <p:cNvPr id="20" name="Vrije vorm: vorm 82">
            <a:extLst>
              <a:ext uri="{FF2B5EF4-FFF2-40B4-BE49-F238E27FC236}">
                <a16:creationId xmlns="" xmlns:a16="http://schemas.microsoft.com/office/drawing/2014/main" id="{34305229-2BA3-40A5-947A-48DE9753FB83}"/>
              </a:ext>
            </a:extLst>
          </p:cNvPr>
          <p:cNvSpPr>
            <a:spLocks noGrp="1"/>
          </p:cNvSpPr>
          <p:nvPr>
            <p:ph type="pic" sz="quarter" idx="10" hasCustomPrompt="1"/>
          </p:nvPr>
        </p:nvSpPr>
        <p:spPr>
          <a:xfrm>
            <a:off x="6937449" y="299390"/>
            <a:ext cx="2940488" cy="2518526"/>
          </a:xfrm>
          <a:custGeom>
            <a:avLst/>
            <a:gdLst>
              <a:gd name="connsiteX0" fmla="*/ 1081056 w 2940488"/>
              <a:gd name="connsiteY0" fmla="*/ 3138 h 2518526"/>
              <a:gd name="connsiteX1" fmla="*/ 1504078 w 2940488"/>
              <a:gd name="connsiteY1" fmla="*/ 95364 h 2518526"/>
              <a:gd name="connsiteX2" fmla="*/ 1759372 w 2940488"/>
              <a:gd name="connsiteY2" fmla="*/ 1062165 h 2518526"/>
              <a:gd name="connsiteX3" fmla="*/ 1743992 w 2940488"/>
              <a:gd name="connsiteY3" fmla="*/ 1089876 h 2518526"/>
              <a:gd name="connsiteX4" fmla="*/ 1719386 w 2940488"/>
              <a:gd name="connsiteY4" fmla="*/ 1182246 h 2518526"/>
              <a:gd name="connsiteX5" fmla="*/ 1897784 w 2940488"/>
              <a:gd name="connsiteY5" fmla="*/ 1363906 h 2518526"/>
              <a:gd name="connsiteX6" fmla="*/ 1990058 w 2940488"/>
              <a:gd name="connsiteY6" fmla="*/ 1339274 h 2518526"/>
              <a:gd name="connsiteX7" fmla="*/ 2011589 w 2940488"/>
              <a:gd name="connsiteY7" fmla="*/ 1326958 h 2518526"/>
              <a:gd name="connsiteX8" fmla="*/ 2014665 w 2940488"/>
              <a:gd name="connsiteY8" fmla="*/ 1323879 h 2518526"/>
              <a:gd name="connsiteX9" fmla="*/ 2940488 w 2940488"/>
              <a:gd name="connsiteY9" fmla="*/ 1530171 h 2518526"/>
              <a:gd name="connsiteX10" fmla="*/ 2159229 w 2940488"/>
              <a:gd name="connsiteY10" fmla="*/ 2259891 h 2518526"/>
              <a:gd name="connsiteX11" fmla="*/ 1482547 w 2940488"/>
              <a:gd name="connsiteY11" fmla="*/ 2075152 h 2518526"/>
              <a:gd name="connsiteX12" fmla="*/ 1048856 w 2940488"/>
              <a:gd name="connsiteY12" fmla="*/ 2518526 h 2518526"/>
              <a:gd name="connsiteX13" fmla="*/ 0 w 2940488"/>
              <a:gd name="connsiteY13" fmla="*/ 2229101 h 2518526"/>
              <a:gd name="connsiteX14" fmla="*/ 692061 w 2940488"/>
              <a:gd name="connsiteY14" fmla="*/ 1671805 h 2518526"/>
              <a:gd name="connsiteX15" fmla="*/ 744350 w 2940488"/>
              <a:gd name="connsiteY15" fmla="*/ 1671805 h 2518526"/>
              <a:gd name="connsiteX16" fmla="*/ 808942 w 2940488"/>
              <a:gd name="connsiteY16" fmla="*/ 1656410 h 2518526"/>
              <a:gd name="connsiteX17" fmla="*/ 895065 w 2940488"/>
              <a:gd name="connsiteY17" fmla="*/ 1413170 h 2518526"/>
              <a:gd name="connsiteX18" fmla="*/ 836624 w 2940488"/>
              <a:gd name="connsiteY18" fmla="*/ 1345432 h 2518526"/>
              <a:gd name="connsiteX19" fmla="*/ 793563 w 2940488"/>
              <a:gd name="connsiteY19" fmla="*/ 1320800 h 2518526"/>
              <a:gd name="connsiteX20" fmla="*/ 790487 w 2940488"/>
              <a:gd name="connsiteY20" fmla="*/ 1317721 h 2518526"/>
              <a:gd name="connsiteX21" fmla="*/ 538269 w 2940488"/>
              <a:gd name="connsiteY21" fmla="*/ 350919 h 2518526"/>
              <a:gd name="connsiteX22" fmla="*/ 941202 w 2940488"/>
              <a:gd name="connsiteY22" fmla="*/ 30705 h 2518526"/>
              <a:gd name="connsiteX23" fmla="*/ 1081056 w 2940488"/>
              <a:gd name="connsiteY23" fmla="*/ 3138 h 251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940488" h="2518526">
                <a:moveTo>
                  <a:pt x="1081056" y="3138"/>
                </a:moveTo>
                <a:cubicBezTo>
                  <a:pt x="1223794" y="-10284"/>
                  <a:pt x="1372587" y="19159"/>
                  <a:pt x="1504078" y="95364"/>
                </a:cubicBezTo>
                <a:cubicBezTo>
                  <a:pt x="1842419" y="292419"/>
                  <a:pt x="1953148" y="726556"/>
                  <a:pt x="1759372" y="1062165"/>
                </a:cubicBezTo>
                <a:cubicBezTo>
                  <a:pt x="1759372" y="1062165"/>
                  <a:pt x="1759372" y="1062165"/>
                  <a:pt x="1743992" y="1089876"/>
                </a:cubicBezTo>
                <a:cubicBezTo>
                  <a:pt x="1728613" y="1117587"/>
                  <a:pt x="1719386" y="1148377"/>
                  <a:pt x="1719386" y="1182246"/>
                </a:cubicBezTo>
                <a:cubicBezTo>
                  <a:pt x="1716310" y="1280774"/>
                  <a:pt x="1799357" y="1363906"/>
                  <a:pt x="1897784" y="1363906"/>
                </a:cubicBezTo>
                <a:cubicBezTo>
                  <a:pt x="1931618" y="1363906"/>
                  <a:pt x="1962376" y="1354669"/>
                  <a:pt x="1990058" y="1339274"/>
                </a:cubicBezTo>
                <a:cubicBezTo>
                  <a:pt x="1990058" y="1339274"/>
                  <a:pt x="1990058" y="1339274"/>
                  <a:pt x="2011589" y="1326958"/>
                </a:cubicBezTo>
                <a:cubicBezTo>
                  <a:pt x="2014665" y="1326958"/>
                  <a:pt x="2014665" y="1326958"/>
                  <a:pt x="2014665" y="1323879"/>
                </a:cubicBezTo>
                <a:cubicBezTo>
                  <a:pt x="2334550" y="1145298"/>
                  <a:pt x="2734408" y="1237668"/>
                  <a:pt x="2940488" y="1530171"/>
                </a:cubicBezTo>
                <a:cubicBezTo>
                  <a:pt x="2940488" y="1530171"/>
                  <a:pt x="2940488" y="1530171"/>
                  <a:pt x="2159229" y="2259891"/>
                </a:cubicBezTo>
                <a:cubicBezTo>
                  <a:pt x="2159229" y="2259891"/>
                  <a:pt x="2159229" y="2259891"/>
                  <a:pt x="1482547" y="2075152"/>
                </a:cubicBezTo>
                <a:cubicBezTo>
                  <a:pt x="1482547" y="2075152"/>
                  <a:pt x="1482547" y="2075152"/>
                  <a:pt x="1048856" y="2518526"/>
                </a:cubicBezTo>
                <a:cubicBezTo>
                  <a:pt x="1048856" y="2518526"/>
                  <a:pt x="1048856" y="2518526"/>
                  <a:pt x="0" y="2229101"/>
                </a:cubicBezTo>
                <a:cubicBezTo>
                  <a:pt x="67668" y="1908887"/>
                  <a:pt x="353720" y="1671805"/>
                  <a:pt x="692061" y="1671805"/>
                </a:cubicBezTo>
                <a:cubicBezTo>
                  <a:pt x="692061" y="1671805"/>
                  <a:pt x="692061" y="1671805"/>
                  <a:pt x="744350" y="1671805"/>
                </a:cubicBezTo>
                <a:cubicBezTo>
                  <a:pt x="765880" y="1671805"/>
                  <a:pt x="787411" y="1665647"/>
                  <a:pt x="808942" y="1656410"/>
                </a:cubicBezTo>
                <a:cubicBezTo>
                  <a:pt x="898141" y="1613304"/>
                  <a:pt x="938127" y="1505540"/>
                  <a:pt x="895065" y="1413170"/>
                </a:cubicBezTo>
                <a:cubicBezTo>
                  <a:pt x="879686" y="1385459"/>
                  <a:pt x="861231" y="1360827"/>
                  <a:pt x="836624" y="1345432"/>
                </a:cubicBezTo>
                <a:cubicBezTo>
                  <a:pt x="836624" y="1345432"/>
                  <a:pt x="836624" y="1345432"/>
                  <a:pt x="793563" y="1320800"/>
                </a:cubicBezTo>
                <a:cubicBezTo>
                  <a:pt x="793563" y="1320800"/>
                  <a:pt x="793563" y="1317721"/>
                  <a:pt x="790487" y="1317721"/>
                </a:cubicBezTo>
                <a:cubicBezTo>
                  <a:pt x="455222" y="1120666"/>
                  <a:pt x="341417" y="686529"/>
                  <a:pt x="538269" y="350919"/>
                </a:cubicBezTo>
                <a:cubicBezTo>
                  <a:pt x="630544" y="190812"/>
                  <a:pt x="778184" y="79969"/>
                  <a:pt x="941202" y="30705"/>
                </a:cubicBezTo>
                <a:cubicBezTo>
                  <a:pt x="986571" y="16849"/>
                  <a:pt x="1033477" y="7612"/>
                  <a:pt x="1081056" y="3138"/>
                </a:cubicBezTo>
                <a:close/>
              </a:path>
            </a:pathLst>
          </a:custGeom>
          <a:solidFill>
            <a:schemeClr val="bg1">
              <a:lumMod val="95000"/>
            </a:schemeClr>
          </a:solidFill>
        </p:spPr>
        <p:txBody>
          <a:bodyPr wrap="square" tIns="756000" anchor="ctr">
            <a:noAutofit/>
          </a:bodyPr>
          <a:lstStyle>
            <a:lvl1pPr marL="0" indent="0" algn="ctr">
              <a:buFontTx/>
              <a:buNone/>
              <a:defRPr sz="1000" i="1">
                <a:solidFill>
                  <a:schemeClr val="tx1"/>
                </a:solidFill>
              </a:defRPr>
            </a:lvl1pPr>
          </a:lstStyle>
          <a:p>
            <a:r>
              <a:rPr lang="nl-NL" dirty="0"/>
              <a:t>Klik op het icoon om </a:t>
            </a:r>
            <a:br>
              <a:rPr lang="nl-NL" dirty="0"/>
            </a:br>
            <a:r>
              <a:rPr lang="nl-NL" dirty="0"/>
              <a:t>een afbeelding in te voegen</a:t>
            </a:r>
          </a:p>
        </p:txBody>
      </p:sp>
      <p:sp>
        <p:nvSpPr>
          <p:cNvPr id="21" name="Vrije vorm: vorm 93">
            <a:extLst>
              <a:ext uri="{FF2B5EF4-FFF2-40B4-BE49-F238E27FC236}">
                <a16:creationId xmlns="" xmlns:a16="http://schemas.microsoft.com/office/drawing/2014/main" id="{D93997EF-A84B-4857-BBC5-132E11701138}"/>
              </a:ext>
            </a:extLst>
          </p:cNvPr>
          <p:cNvSpPr>
            <a:spLocks noGrp="1"/>
          </p:cNvSpPr>
          <p:nvPr>
            <p:ph type="pic" sz="quarter" idx="11" hasCustomPrompt="1"/>
          </p:nvPr>
        </p:nvSpPr>
        <p:spPr>
          <a:xfrm>
            <a:off x="8738844" y="1825860"/>
            <a:ext cx="2494306" cy="2783860"/>
          </a:xfrm>
          <a:custGeom>
            <a:avLst/>
            <a:gdLst>
              <a:gd name="connsiteX0" fmla="*/ 1137292 w 2494306"/>
              <a:gd name="connsiteY0" fmla="*/ 0 h 2783860"/>
              <a:gd name="connsiteX1" fmla="*/ 1174378 w 2494306"/>
              <a:gd name="connsiteY1" fmla="*/ 767108 h 2783860"/>
              <a:gd name="connsiteX2" fmla="*/ 1146564 w 2494306"/>
              <a:gd name="connsiteY2" fmla="*/ 813506 h 2783860"/>
              <a:gd name="connsiteX3" fmla="*/ 1131111 w 2494306"/>
              <a:gd name="connsiteY3" fmla="*/ 875369 h 2783860"/>
              <a:gd name="connsiteX4" fmla="*/ 1297997 w 2494306"/>
              <a:gd name="connsiteY4" fmla="*/ 1073333 h 2783860"/>
              <a:gd name="connsiteX5" fmla="*/ 1387620 w 2494306"/>
              <a:gd name="connsiteY5" fmla="*/ 1057867 h 2783860"/>
              <a:gd name="connsiteX6" fmla="*/ 1427796 w 2494306"/>
              <a:gd name="connsiteY6" fmla="*/ 1033122 h 2783860"/>
              <a:gd name="connsiteX7" fmla="*/ 1430887 w 2494306"/>
              <a:gd name="connsiteY7" fmla="*/ 1033122 h 2783860"/>
              <a:gd name="connsiteX8" fmla="*/ 2401293 w 2494306"/>
              <a:gd name="connsiteY8" fmla="*/ 1299135 h 2783860"/>
              <a:gd name="connsiteX9" fmla="*/ 2456922 w 2494306"/>
              <a:gd name="connsiteY9" fmla="*/ 1877559 h 2783860"/>
              <a:gd name="connsiteX10" fmla="*/ 2135513 w 2494306"/>
              <a:gd name="connsiteY10" fmla="*/ 2267299 h 2783860"/>
              <a:gd name="connsiteX11" fmla="*/ 1168197 w 2494306"/>
              <a:gd name="connsiteY11" fmla="*/ 2004379 h 2783860"/>
              <a:gd name="connsiteX12" fmla="*/ 1152745 w 2494306"/>
              <a:gd name="connsiteY12" fmla="*/ 1976541 h 2783860"/>
              <a:gd name="connsiteX13" fmla="*/ 1084754 w 2494306"/>
              <a:gd name="connsiteY13" fmla="*/ 1908491 h 2783860"/>
              <a:gd name="connsiteX14" fmla="*/ 834426 w 2494306"/>
              <a:gd name="connsiteY14" fmla="*/ 1973448 h 2783860"/>
              <a:gd name="connsiteX15" fmla="*/ 809703 w 2494306"/>
              <a:gd name="connsiteY15" fmla="*/ 2066243 h 2783860"/>
              <a:gd name="connsiteX16" fmla="*/ 809703 w 2494306"/>
              <a:gd name="connsiteY16" fmla="*/ 2090988 h 2783860"/>
              <a:gd name="connsiteX17" fmla="*/ 809703 w 2494306"/>
              <a:gd name="connsiteY17" fmla="*/ 2094082 h 2783860"/>
              <a:gd name="connsiteX18" fmla="*/ 265780 w 2494306"/>
              <a:gd name="connsiteY18" fmla="*/ 2783860 h 2783860"/>
              <a:gd name="connsiteX19" fmla="*/ 0 w 2494306"/>
              <a:gd name="connsiteY19" fmla="*/ 1784764 h 2783860"/>
              <a:gd name="connsiteX20" fmla="*/ 457389 w 2494306"/>
              <a:gd name="connsiteY20" fmla="*/ 1326973 h 2783860"/>
              <a:gd name="connsiteX21" fmla="*/ 352314 w 2494306"/>
              <a:gd name="connsiteY21" fmla="*/ 733083 h 2783860"/>
              <a:gd name="connsiteX22" fmla="*/ 1137292 w 2494306"/>
              <a:gd name="connsiteY22" fmla="*/ 0 h 2783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494306" h="2783860">
                <a:moveTo>
                  <a:pt x="1137292" y="0"/>
                </a:moveTo>
                <a:cubicBezTo>
                  <a:pt x="1294906" y="219616"/>
                  <a:pt x="1319630" y="519654"/>
                  <a:pt x="1174378" y="767108"/>
                </a:cubicBezTo>
                <a:cubicBezTo>
                  <a:pt x="1174378" y="767108"/>
                  <a:pt x="1174378" y="767108"/>
                  <a:pt x="1146564" y="813506"/>
                </a:cubicBezTo>
                <a:cubicBezTo>
                  <a:pt x="1137292" y="835158"/>
                  <a:pt x="1131111" y="853717"/>
                  <a:pt x="1131111" y="875369"/>
                </a:cubicBezTo>
                <a:cubicBezTo>
                  <a:pt x="1121840" y="977444"/>
                  <a:pt x="1196011" y="1064053"/>
                  <a:pt x="1297997" y="1073333"/>
                </a:cubicBezTo>
                <a:cubicBezTo>
                  <a:pt x="1328901" y="1076426"/>
                  <a:pt x="1359806" y="1070240"/>
                  <a:pt x="1387620" y="1057867"/>
                </a:cubicBezTo>
                <a:cubicBezTo>
                  <a:pt x="1387620" y="1057867"/>
                  <a:pt x="1387620" y="1057867"/>
                  <a:pt x="1427796" y="1033122"/>
                </a:cubicBezTo>
                <a:cubicBezTo>
                  <a:pt x="1430887" y="1033122"/>
                  <a:pt x="1430887" y="1033122"/>
                  <a:pt x="1430887" y="1033122"/>
                </a:cubicBezTo>
                <a:cubicBezTo>
                  <a:pt x="1773929" y="838251"/>
                  <a:pt x="2206594" y="955792"/>
                  <a:pt x="2401293" y="1299135"/>
                </a:cubicBezTo>
                <a:cubicBezTo>
                  <a:pt x="2506369" y="1481632"/>
                  <a:pt x="2518731" y="1691968"/>
                  <a:pt x="2456922" y="1877559"/>
                </a:cubicBezTo>
                <a:cubicBezTo>
                  <a:pt x="2401293" y="2035311"/>
                  <a:pt x="2293127" y="2177597"/>
                  <a:pt x="2135513" y="2267299"/>
                </a:cubicBezTo>
                <a:cubicBezTo>
                  <a:pt x="1795562" y="2462170"/>
                  <a:pt x="1362896" y="2344629"/>
                  <a:pt x="1168197" y="2004379"/>
                </a:cubicBezTo>
                <a:cubicBezTo>
                  <a:pt x="1168197" y="2004379"/>
                  <a:pt x="1168197" y="2004379"/>
                  <a:pt x="1152745" y="1976541"/>
                </a:cubicBezTo>
                <a:cubicBezTo>
                  <a:pt x="1137292" y="1948702"/>
                  <a:pt x="1115659" y="1923957"/>
                  <a:pt x="1084754" y="1908491"/>
                </a:cubicBezTo>
                <a:cubicBezTo>
                  <a:pt x="998221" y="1859000"/>
                  <a:pt x="886964" y="1886839"/>
                  <a:pt x="834426" y="1973448"/>
                </a:cubicBezTo>
                <a:cubicBezTo>
                  <a:pt x="818974" y="2001286"/>
                  <a:pt x="809703" y="2035311"/>
                  <a:pt x="809703" y="2066243"/>
                </a:cubicBezTo>
                <a:cubicBezTo>
                  <a:pt x="809703" y="2066243"/>
                  <a:pt x="809703" y="2066243"/>
                  <a:pt x="809703" y="2090988"/>
                </a:cubicBezTo>
                <a:cubicBezTo>
                  <a:pt x="809703" y="2094082"/>
                  <a:pt x="809703" y="2094082"/>
                  <a:pt x="809703" y="2094082"/>
                </a:cubicBezTo>
                <a:cubicBezTo>
                  <a:pt x="809703" y="2431238"/>
                  <a:pt x="574827" y="2709624"/>
                  <a:pt x="265780" y="2783860"/>
                </a:cubicBezTo>
                <a:cubicBezTo>
                  <a:pt x="265780" y="2783860"/>
                  <a:pt x="265780" y="2783860"/>
                  <a:pt x="0" y="1784764"/>
                </a:cubicBezTo>
                <a:cubicBezTo>
                  <a:pt x="0" y="1784764"/>
                  <a:pt x="0" y="1784764"/>
                  <a:pt x="457389" y="1326973"/>
                </a:cubicBezTo>
                <a:cubicBezTo>
                  <a:pt x="457389" y="1326973"/>
                  <a:pt x="457389" y="1326973"/>
                  <a:pt x="352314" y="733083"/>
                </a:cubicBezTo>
                <a:cubicBezTo>
                  <a:pt x="352314" y="733083"/>
                  <a:pt x="352314" y="733083"/>
                  <a:pt x="1137292" y="0"/>
                </a:cubicBezTo>
                <a:close/>
              </a:path>
            </a:pathLst>
          </a:custGeom>
          <a:solidFill>
            <a:schemeClr val="bg1">
              <a:lumMod val="95000"/>
            </a:schemeClr>
          </a:solidFill>
        </p:spPr>
        <p:txBody>
          <a:bodyPr wrap="square" tIns="756000" anchor="ctr">
            <a:noAutofit/>
          </a:bodyPr>
          <a:lstStyle>
            <a:lvl1pPr marL="0" indent="0" algn="ctr">
              <a:buFontTx/>
              <a:buNone/>
              <a:defRPr sz="1000" i="1">
                <a:solidFill>
                  <a:schemeClr val="tx1"/>
                </a:solidFill>
              </a:defRPr>
            </a:lvl1pPr>
          </a:lstStyle>
          <a:p>
            <a:r>
              <a:rPr lang="nl-NL" dirty="0"/>
              <a:t>Klik op het icoon om </a:t>
            </a:r>
            <a:br>
              <a:rPr lang="nl-NL" dirty="0"/>
            </a:br>
            <a:r>
              <a:rPr lang="nl-NL" dirty="0"/>
              <a:t>een afbeelding in te voegen</a:t>
            </a:r>
          </a:p>
        </p:txBody>
      </p:sp>
      <p:sp>
        <p:nvSpPr>
          <p:cNvPr id="22" name="Vrije vorm: vorm 102">
            <a:extLst>
              <a:ext uri="{FF2B5EF4-FFF2-40B4-BE49-F238E27FC236}">
                <a16:creationId xmlns="" xmlns:a16="http://schemas.microsoft.com/office/drawing/2014/main" id="{4E43CA31-7878-4873-8C86-B062F2CAC051}"/>
              </a:ext>
            </a:extLst>
          </p:cNvPr>
          <p:cNvSpPr>
            <a:spLocks noGrp="1"/>
          </p:cNvSpPr>
          <p:nvPr>
            <p:ph type="pic" sz="quarter" idx="13" hasCustomPrompt="1"/>
          </p:nvPr>
        </p:nvSpPr>
        <p:spPr>
          <a:xfrm>
            <a:off x="6461093" y="2522131"/>
            <a:ext cx="2548603" cy="2531006"/>
          </a:xfrm>
          <a:custGeom>
            <a:avLst/>
            <a:gdLst>
              <a:gd name="connsiteX0" fmla="*/ 474016 w 2548603"/>
              <a:gd name="connsiteY0" fmla="*/ 0 h 2531006"/>
              <a:gd name="connsiteX1" fmla="*/ 1520544 w 2548603"/>
              <a:gd name="connsiteY1" fmla="*/ 289434 h 2531006"/>
              <a:gd name="connsiteX2" fmla="*/ 1683679 w 2548603"/>
              <a:gd name="connsiteY2" fmla="*/ 911409 h 2531006"/>
              <a:gd name="connsiteX3" fmla="*/ 2283893 w 2548603"/>
              <a:gd name="connsiteY3" fmla="*/ 1077679 h 2531006"/>
              <a:gd name="connsiteX4" fmla="*/ 2548603 w 2548603"/>
              <a:gd name="connsiteY4" fmla="*/ 2072223 h 2531006"/>
              <a:gd name="connsiteX5" fmla="*/ 1769863 w 2548603"/>
              <a:gd name="connsiteY5" fmla="*/ 1736603 h 2531006"/>
              <a:gd name="connsiteX6" fmla="*/ 1745239 w 2548603"/>
              <a:gd name="connsiteY6" fmla="*/ 1687338 h 2531006"/>
              <a:gd name="connsiteX7" fmla="*/ 1699069 w 2548603"/>
              <a:gd name="connsiteY7" fmla="*/ 1644230 h 2531006"/>
              <a:gd name="connsiteX8" fmla="*/ 1446671 w 2548603"/>
              <a:gd name="connsiteY8" fmla="*/ 1690417 h 2531006"/>
              <a:gd name="connsiteX9" fmla="*/ 1415891 w 2548603"/>
              <a:gd name="connsiteY9" fmla="*/ 1773552 h 2531006"/>
              <a:gd name="connsiteX10" fmla="*/ 1415891 w 2548603"/>
              <a:gd name="connsiteY10" fmla="*/ 1822817 h 2531006"/>
              <a:gd name="connsiteX11" fmla="*/ 1415891 w 2548603"/>
              <a:gd name="connsiteY11" fmla="*/ 1825896 h 2531006"/>
              <a:gd name="connsiteX12" fmla="*/ 704867 w 2548603"/>
              <a:gd name="connsiteY12" fmla="*/ 2531006 h 2531006"/>
              <a:gd name="connsiteX13" fmla="*/ 196994 w 2548603"/>
              <a:gd name="connsiteY13" fmla="*/ 2312391 h 2531006"/>
              <a:gd name="connsiteX14" fmla="*/ 0 w 2548603"/>
              <a:gd name="connsiteY14" fmla="*/ 1819738 h 2531006"/>
              <a:gd name="connsiteX15" fmla="*/ 707945 w 2548603"/>
              <a:gd name="connsiteY15" fmla="*/ 1114628 h 2531006"/>
              <a:gd name="connsiteX16" fmla="*/ 738726 w 2548603"/>
              <a:gd name="connsiteY16" fmla="*/ 1114628 h 2531006"/>
              <a:gd name="connsiteX17" fmla="*/ 834144 w 2548603"/>
              <a:gd name="connsiteY17" fmla="*/ 1093075 h 2531006"/>
              <a:gd name="connsiteX18" fmla="*/ 901861 w 2548603"/>
              <a:gd name="connsiteY18" fmla="*/ 843669 h 2531006"/>
              <a:gd name="connsiteX19" fmla="*/ 834144 w 2548603"/>
              <a:gd name="connsiteY19" fmla="*/ 775929 h 2531006"/>
              <a:gd name="connsiteX20" fmla="*/ 812598 w 2548603"/>
              <a:gd name="connsiteY20" fmla="*/ 763613 h 2531006"/>
              <a:gd name="connsiteX21" fmla="*/ 806442 w 2548603"/>
              <a:gd name="connsiteY21" fmla="*/ 760534 h 2531006"/>
              <a:gd name="connsiteX22" fmla="*/ 474016 w 2548603"/>
              <a:gd name="connsiteY22" fmla="*/ 0 h 2531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548603" h="2531006">
                <a:moveTo>
                  <a:pt x="474016" y="0"/>
                </a:moveTo>
                <a:cubicBezTo>
                  <a:pt x="474016" y="0"/>
                  <a:pt x="474016" y="0"/>
                  <a:pt x="1520544" y="289434"/>
                </a:cubicBezTo>
                <a:cubicBezTo>
                  <a:pt x="1520544" y="289434"/>
                  <a:pt x="1520544" y="289434"/>
                  <a:pt x="1683679" y="911409"/>
                </a:cubicBezTo>
                <a:cubicBezTo>
                  <a:pt x="1683679" y="911409"/>
                  <a:pt x="1683679" y="911409"/>
                  <a:pt x="2283893" y="1077679"/>
                </a:cubicBezTo>
                <a:lnTo>
                  <a:pt x="2548603" y="2072223"/>
                </a:lnTo>
                <a:cubicBezTo>
                  <a:pt x="2250035" y="2143042"/>
                  <a:pt x="1929921" y="2013720"/>
                  <a:pt x="1769863" y="1736603"/>
                </a:cubicBezTo>
                <a:cubicBezTo>
                  <a:pt x="1769863" y="1736603"/>
                  <a:pt x="1769863" y="1736603"/>
                  <a:pt x="1745239" y="1687338"/>
                </a:cubicBezTo>
                <a:cubicBezTo>
                  <a:pt x="1732927" y="1671942"/>
                  <a:pt x="1717537" y="1656547"/>
                  <a:pt x="1699069" y="1644230"/>
                </a:cubicBezTo>
                <a:cubicBezTo>
                  <a:pt x="1615962" y="1585728"/>
                  <a:pt x="1502075" y="1607281"/>
                  <a:pt x="1446671" y="1690417"/>
                </a:cubicBezTo>
                <a:cubicBezTo>
                  <a:pt x="1428203" y="1715049"/>
                  <a:pt x="1418969" y="1745840"/>
                  <a:pt x="1415891" y="1773552"/>
                </a:cubicBezTo>
                <a:cubicBezTo>
                  <a:pt x="1415891" y="1773552"/>
                  <a:pt x="1415891" y="1773552"/>
                  <a:pt x="1415891" y="1822817"/>
                </a:cubicBezTo>
                <a:cubicBezTo>
                  <a:pt x="1415891" y="1822817"/>
                  <a:pt x="1415891" y="1825896"/>
                  <a:pt x="1415891" y="1825896"/>
                </a:cubicBezTo>
                <a:cubicBezTo>
                  <a:pt x="1412813" y="2216940"/>
                  <a:pt x="1092698" y="2531006"/>
                  <a:pt x="704867" y="2531006"/>
                </a:cubicBezTo>
                <a:cubicBezTo>
                  <a:pt x="504796" y="2527927"/>
                  <a:pt x="323193" y="2444792"/>
                  <a:pt x="196994" y="2312391"/>
                </a:cubicBezTo>
                <a:cubicBezTo>
                  <a:pt x="73873" y="2183070"/>
                  <a:pt x="0" y="2010641"/>
                  <a:pt x="0" y="1819738"/>
                </a:cubicBezTo>
                <a:cubicBezTo>
                  <a:pt x="3078" y="1428695"/>
                  <a:pt x="320115" y="1114628"/>
                  <a:pt x="707945" y="1114628"/>
                </a:cubicBezTo>
                <a:cubicBezTo>
                  <a:pt x="707945" y="1114628"/>
                  <a:pt x="707945" y="1114628"/>
                  <a:pt x="738726" y="1114628"/>
                </a:cubicBezTo>
                <a:cubicBezTo>
                  <a:pt x="772584" y="1114628"/>
                  <a:pt x="803364" y="1108470"/>
                  <a:pt x="834144" y="1093075"/>
                </a:cubicBezTo>
                <a:cubicBezTo>
                  <a:pt x="920329" y="1040730"/>
                  <a:pt x="951109" y="929883"/>
                  <a:pt x="901861" y="843669"/>
                </a:cubicBezTo>
                <a:cubicBezTo>
                  <a:pt x="883393" y="815957"/>
                  <a:pt x="861847" y="791324"/>
                  <a:pt x="834144" y="775929"/>
                </a:cubicBezTo>
                <a:cubicBezTo>
                  <a:pt x="834144" y="775929"/>
                  <a:pt x="834144" y="775929"/>
                  <a:pt x="812598" y="763613"/>
                </a:cubicBezTo>
                <a:cubicBezTo>
                  <a:pt x="809520" y="763613"/>
                  <a:pt x="809520" y="763613"/>
                  <a:pt x="806442" y="760534"/>
                </a:cubicBezTo>
                <a:cubicBezTo>
                  <a:pt x="535576" y="603500"/>
                  <a:pt x="412455" y="292513"/>
                  <a:pt x="474016" y="0"/>
                </a:cubicBezTo>
                <a:close/>
              </a:path>
            </a:pathLst>
          </a:custGeom>
          <a:solidFill>
            <a:schemeClr val="bg1">
              <a:lumMod val="95000"/>
            </a:schemeClr>
          </a:solidFill>
        </p:spPr>
        <p:txBody>
          <a:bodyPr wrap="square" tIns="756000" anchor="ctr">
            <a:noAutofit/>
          </a:bodyPr>
          <a:lstStyle>
            <a:lvl1pPr marL="0" indent="0" algn="ctr">
              <a:buFontTx/>
              <a:buNone/>
              <a:defRPr sz="1000" i="1">
                <a:solidFill>
                  <a:schemeClr val="tx1"/>
                </a:solidFill>
              </a:defRPr>
            </a:lvl1pPr>
          </a:lstStyle>
          <a:p>
            <a:r>
              <a:rPr lang="nl-NL" dirty="0"/>
              <a:t>Klik op het icoon om </a:t>
            </a:r>
            <a:br>
              <a:rPr lang="nl-NL" dirty="0"/>
            </a:br>
            <a:r>
              <a:rPr lang="nl-NL" dirty="0"/>
              <a:t>een afbeelding in te voegen</a:t>
            </a:r>
          </a:p>
        </p:txBody>
      </p:sp>
      <p:sp>
        <p:nvSpPr>
          <p:cNvPr id="24" name="Vrije vorm: vorm 112">
            <a:extLst>
              <a:ext uri="{FF2B5EF4-FFF2-40B4-BE49-F238E27FC236}">
                <a16:creationId xmlns="" xmlns:a16="http://schemas.microsoft.com/office/drawing/2014/main" id="{087B171F-0FA4-4C2A-BEE2-F1FB5AA3B7B5}"/>
              </a:ext>
            </a:extLst>
          </p:cNvPr>
          <p:cNvSpPr>
            <a:spLocks noGrp="1"/>
          </p:cNvSpPr>
          <p:nvPr>
            <p:ph type="body" sz="quarter" idx="14" hasCustomPrompt="1"/>
          </p:nvPr>
        </p:nvSpPr>
        <p:spPr>
          <a:xfrm>
            <a:off x="6930883" y="327967"/>
            <a:ext cx="1484313" cy="2490787"/>
          </a:xfrm>
          <a:custGeom>
            <a:avLst/>
            <a:gdLst>
              <a:gd name="connsiteX0" fmla="*/ 942323 w 1484313"/>
              <a:gd name="connsiteY0" fmla="*/ 0 h 2490787"/>
              <a:gd name="connsiteX1" fmla="*/ 1484313 w 1484313"/>
              <a:gd name="connsiteY1" fmla="*/ 2046885 h 2490787"/>
              <a:gd name="connsiteX2" fmla="*/ 1050105 w 1484313"/>
              <a:gd name="connsiteY2" fmla="*/ 2490787 h 2490787"/>
              <a:gd name="connsiteX3" fmla="*/ 0 w 1484313"/>
              <a:gd name="connsiteY3" fmla="*/ 2201017 h 2490787"/>
              <a:gd name="connsiteX4" fmla="*/ 692885 w 1484313"/>
              <a:gd name="connsiteY4" fmla="*/ 1643056 h 2490787"/>
              <a:gd name="connsiteX5" fmla="*/ 748316 w 1484313"/>
              <a:gd name="connsiteY5" fmla="*/ 1643056 h 2490787"/>
              <a:gd name="connsiteX6" fmla="*/ 809905 w 1484313"/>
              <a:gd name="connsiteY6" fmla="*/ 1627643 h 2490787"/>
              <a:gd name="connsiteX7" fmla="*/ 896131 w 1484313"/>
              <a:gd name="connsiteY7" fmla="*/ 1384113 h 2490787"/>
              <a:gd name="connsiteX8" fmla="*/ 837621 w 1484313"/>
              <a:gd name="connsiteY8" fmla="*/ 1316295 h 2490787"/>
              <a:gd name="connsiteX9" fmla="*/ 794508 w 1484313"/>
              <a:gd name="connsiteY9" fmla="*/ 1291633 h 2490787"/>
              <a:gd name="connsiteX10" fmla="*/ 791429 w 1484313"/>
              <a:gd name="connsiteY10" fmla="*/ 1288551 h 2490787"/>
              <a:gd name="connsiteX11" fmla="*/ 538911 w 1484313"/>
              <a:gd name="connsiteY11" fmla="*/ 320596 h 2490787"/>
              <a:gd name="connsiteX12" fmla="*/ 942323 w 1484313"/>
              <a:gd name="connsiteY12" fmla="*/ 0 h 2490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84313" h="2490787">
                <a:moveTo>
                  <a:pt x="942323" y="0"/>
                </a:moveTo>
                <a:cubicBezTo>
                  <a:pt x="942323" y="0"/>
                  <a:pt x="942323" y="0"/>
                  <a:pt x="1484313" y="2046885"/>
                </a:cubicBezTo>
                <a:cubicBezTo>
                  <a:pt x="1484313" y="2046885"/>
                  <a:pt x="1484313" y="2046885"/>
                  <a:pt x="1050105" y="2490787"/>
                </a:cubicBezTo>
                <a:cubicBezTo>
                  <a:pt x="1050105" y="2490787"/>
                  <a:pt x="1050105" y="2490787"/>
                  <a:pt x="0" y="2201017"/>
                </a:cubicBezTo>
                <a:cubicBezTo>
                  <a:pt x="67749" y="1883504"/>
                  <a:pt x="354141" y="1643056"/>
                  <a:pt x="692885" y="1643056"/>
                </a:cubicBezTo>
                <a:cubicBezTo>
                  <a:pt x="692885" y="1643056"/>
                  <a:pt x="692885" y="1643056"/>
                  <a:pt x="748316" y="1643056"/>
                </a:cubicBezTo>
                <a:cubicBezTo>
                  <a:pt x="766793" y="1643056"/>
                  <a:pt x="788349" y="1636891"/>
                  <a:pt x="809905" y="1627643"/>
                </a:cubicBezTo>
                <a:cubicBezTo>
                  <a:pt x="899211" y="1584486"/>
                  <a:pt x="939244" y="1476593"/>
                  <a:pt x="896131" y="1384113"/>
                </a:cubicBezTo>
                <a:cubicBezTo>
                  <a:pt x="880734" y="1356369"/>
                  <a:pt x="862257" y="1334791"/>
                  <a:pt x="837621" y="1316295"/>
                </a:cubicBezTo>
                <a:cubicBezTo>
                  <a:pt x="837621" y="1316295"/>
                  <a:pt x="837621" y="1316295"/>
                  <a:pt x="794508" y="1291633"/>
                </a:cubicBezTo>
                <a:cubicBezTo>
                  <a:pt x="794508" y="1291633"/>
                  <a:pt x="794508" y="1291633"/>
                  <a:pt x="791429" y="1288551"/>
                </a:cubicBezTo>
                <a:cubicBezTo>
                  <a:pt x="455764" y="1091261"/>
                  <a:pt x="341823" y="656606"/>
                  <a:pt x="538911" y="320596"/>
                </a:cubicBezTo>
                <a:cubicBezTo>
                  <a:pt x="631295" y="160298"/>
                  <a:pt x="779111" y="52405"/>
                  <a:pt x="942323" y="0"/>
                </a:cubicBezTo>
                <a:close/>
              </a:path>
            </a:pathLst>
          </a:custGeom>
          <a:solidFill>
            <a:srgbClr val="00953A">
              <a:alpha val="60000"/>
            </a:srgbClr>
          </a:solidFill>
        </p:spPr>
        <p:txBody>
          <a:bodyPr wrap="square">
            <a:noAutofit/>
          </a:bodyPr>
          <a:lstStyle>
            <a:lvl1pPr marL="0" indent="0">
              <a:buFontTx/>
              <a:buNone/>
              <a:defRPr>
                <a:solidFill>
                  <a:schemeClr val="tx1"/>
                </a:solidFill>
              </a:defRPr>
            </a:lvl1pPr>
          </a:lstStyle>
          <a:p>
            <a:pPr lvl="0"/>
            <a:r>
              <a:rPr lang="nl-NL" dirty="0"/>
              <a:t>                   </a:t>
            </a:r>
          </a:p>
        </p:txBody>
      </p:sp>
      <p:sp>
        <p:nvSpPr>
          <p:cNvPr id="25" name="Vrije vorm: vorm 116">
            <a:extLst>
              <a:ext uri="{FF2B5EF4-FFF2-40B4-BE49-F238E27FC236}">
                <a16:creationId xmlns="" xmlns:a16="http://schemas.microsoft.com/office/drawing/2014/main" id="{065703BB-8CCE-40EC-8D40-BE24F9589275}"/>
              </a:ext>
            </a:extLst>
          </p:cNvPr>
          <p:cNvSpPr>
            <a:spLocks noGrp="1"/>
          </p:cNvSpPr>
          <p:nvPr>
            <p:ph type="body" sz="quarter" idx="15" hasCustomPrompt="1"/>
          </p:nvPr>
        </p:nvSpPr>
        <p:spPr>
          <a:xfrm>
            <a:off x="9093325" y="1827160"/>
            <a:ext cx="2134658" cy="1874837"/>
          </a:xfrm>
          <a:custGeom>
            <a:avLst/>
            <a:gdLst>
              <a:gd name="connsiteX0" fmla="*/ 782291 w 2134658"/>
              <a:gd name="connsiteY0" fmla="*/ 0 h 1874837"/>
              <a:gd name="connsiteX1" fmla="*/ 819250 w 2134658"/>
              <a:gd name="connsiteY1" fmla="*/ 767820 h 1874837"/>
              <a:gd name="connsiteX2" fmla="*/ 791531 w 2134658"/>
              <a:gd name="connsiteY2" fmla="*/ 814074 h 1874837"/>
              <a:gd name="connsiteX3" fmla="*/ 776131 w 2134658"/>
              <a:gd name="connsiteY3" fmla="*/ 875746 h 1874837"/>
              <a:gd name="connsiteX4" fmla="*/ 942445 w 2134658"/>
              <a:gd name="connsiteY4" fmla="*/ 1073098 h 1874837"/>
              <a:gd name="connsiteX5" fmla="*/ 954765 w 2134658"/>
              <a:gd name="connsiteY5" fmla="*/ 1073098 h 1874837"/>
              <a:gd name="connsiteX6" fmla="*/ 1031762 w 2134658"/>
              <a:gd name="connsiteY6" fmla="*/ 1057680 h 1874837"/>
              <a:gd name="connsiteX7" fmla="*/ 1074880 w 2134658"/>
              <a:gd name="connsiteY7" fmla="*/ 1033011 h 1874837"/>
              <a:gd name="connsiteX8" fmla="*/ 1077960 w 2134658"/>
              <a:gd name="connsiteY8" fmla="*/ 1029927 h 1874837"/>
              <a:gd name="connsiteX9" fmla="*/ 1425987 w 2134658"/>
              <a:gd name="connsiteY9" fmla="*/ 937419 h 1874837"/>
              <a:gd name="connsiteX10" fmla="*/ 2041965 w 2134658"/>
              <a:gd name="connsiteY10" fmla="*/ 1295118 h 1874837"/>
              <a:gd name="connsiteX11" fmla="*/ 2097402 w 2134658"/>
              <a:gd name="connsiteY11" fmla="*/ 1874837 h 1874837"/>
              <a:gd name="connsiteX12" fmla="*/ 104716 w 2134658"/>
              <a:gd name="connsiteY12" fmla="*/ 1325954 h 1874837"/>
              <a:gd name="connsiteX13" fmla="*/ 0 w 2134658"/>
              <a:gd name="connsiteY13" fmla="*/ 733900 h 1874837"/>
              <a:gd name="connsiteX14" fmla="*/ 782291 w 2134658"/>
              <a:gd name="connsiteY14" fmla="*/ 0 h 1874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34658" h="1874837">
                <a:moveTo>
                  <a:pt x="782291" y="0"/>
                </a:moveTo>
                <a:cubicBezTo>
                  <a:pt x="939365" y="218937"/>
                  <a:pt x="964004" y="518047"/>
                  <a:pt x="819250" y="767820"/>
                </a:cubicBezTo>
                <a:cubicBezTo>
                  <a:pt x="819250" y="767820"/>
                  <a:pt x="819250" y="767820"/>
                  <a:pt x="791531" y="814074"/>
                </a:cubicBezTo>
                <a:cubicBezTo>
                  <a:pt x="782291" y="832576"/>
                  <a:pt x="776131" y="854161"/>
                  <a:pt x="776131" y="875746"/>
                </a:cubicBezTo>
                <a:cubicBezTo>
                  <a:pt x="766892" y="977506"/>
                  <a:pt x="840809" y="1063847"/>
                  <a:pt x="942445" y="1073098"/>
                </a:cubicBezTo>
                <a:cubicBezTo>
                  <a:pt x="945525" y="1073098"/>
                  <a:pt x="951685" y="1073098"/>
                  <a:pt x="954765" y="1073098"/>
                </a:cubicBezTo>
                <a:cubicBezTo>
                  <a:pt x="982484" y="1073098"/>
                  <a:pt x="1007123" y="1066930"/>
                  <a:pt x="1031762" y="1057680"/>
                </a:cubicBezTo>
                <a:cubicBezTo>
                  <a:pt x="1031762" y="1057680"/>
                  <a:pt x="1031762" y="1057680"/>
                  <a:pt x="1074880" y="1033011"/>
                </a:cubicBezTo>
                <a:cubicBezTo>
                  <a:pt x="1074880" y="1033011"/>
                  <a:pt x="1074880" y="1033011"/>
                  <a:pt x="1077960" y="1029927"/>
                </a:cubicBezTo>
                <a:cubicBezTo>
                  <a:pt x="1185756" y="968255"/>
                  <a:pt x="1308952" y="937419"/>
                  <a:pt x="1425987" y="937419"/>
                </a:cubicBezTo>
                <a:cubicBezTo>
                  <a:pt x="1672378" y="937419"/>
                  <a:pt x="1912609" y="1066930"/>
                  <a:pt x="2041965" y="1295118"/>
                </a:cubicBezTo>
                <a:cubicBezTo>
                  <a:pt x="2146681" y="1480135"/>
                  <a:pt x="2159000" y="1686737"/>
                  <a:pt x="2097402" y="1874837"/>
                </a:cubicBezTo>
                <a:cubicBezTo>
                  <a:pt x="2097402" y="1874837"/>
                  <a:pt x="2097402" y="1874837"/>
                  <a:pt x="104716" y="1325954"/>
                </a:cubicBezTo>
                <a:cubicBezTo>
                  <a:pt x="104716" y="1325954"/>
                  <a:pt x="104716" y="1325954"/>
                  <a:pt x="0" y="733900"/>
                </a:cubicBezTo>
                <a:cubicBezTo>
                  <a:pt x="0" y="733900"/>
                  <a:pt x="0" y="733900"/>
                  <a:pt x="782291" y="0"/>
                </a:cubicBezTo>
                <a:close/>
              </a:path>
            </a:pathLst>
          </a:custGeom>
          <a:solidFill>
            <a:srgbClr val="0089CE">
              <a:alpha val="60000"/>
            </a:srgbClr>
          </a:solidFill>
        </p:spPr>
        <p:txBody>
          <a:bodyPr wrap="square">
            <a:noAutofit/>
          </a:bodyPr>
          <a:lstStyle>
            <a:lvl1pPr marL="0" indent="0">
              <a:buFontTx/>
              <a:buNone/>
              <a:defRPr>
                <a:solidFill>
                  <a:schemeClr val="tx1"/>
                </a:solidFill>
              </a:defRPr>
            </a:lvl1pPr>
          </a:lstStyle>
          <a:p>
            <a:pPr lvl="0"/>
            <a:r>
              <a:rPr lang="nl-NL" dirty="0"/>
              <a:t>                    </a:t>
            </a:r>
          </a:p>
        </p:txBody>
      </p:sp>
      <p:sp>
        <p:nvSpPr>
          <p:cNvPr id="27" name="Vrije vorm: vorm 119">
            <a:extLst>
              <a:ext uri="{FF2B5EF4-FFF2-40B4-BE49-F238E27FC236}">
                <a16:creationId xmlns="" xmlns:a16="http://schemas.microsoft.com/office/drawing/2014/main" id="{2646BD11-C8B1-4BA3-AAA5-F6BD1D6066E5}"/>
              </a:ext>
            </a:extLst>
          </p:cNvPr>
          <p:cNvSpPr>
            <a:spLocks noGrp="1"/>
          </p:cNvSpPr>
          <p:nvPr>
            <p:ph type="body" sz="quarter" idx="16" hasCustomPrompt="1"/>
          </p:nvPr>
        </p:nvSpPr>
        <p:spPr>
          <a:xfrm>
            <a:off x="6657856" y="3436870"/>
            <a:ext cx="2355851" cy="1620837"/>
          </a:xfrm>
          <a:custGeom>
            <a:avLst/>
            <a:gdLst>
              <a:gd name="connsiteX0" fmla="*/ 1490499 w 2355851"/>
              <a:gd name="connsiteY0" fmla="*/ 0 h 1620837"/>
              <a:gd name="connsiteX1" fmla="*/ 2091010 w 2355851"/>
              <a:gd name="connsiteY1" fmla="*/ 163316 h 1620837"/>
              <a:gd name="connsiteX2" fmla="*/ 2355851 w 2355851"/>
              <a:gd name="connsiteY2" fmla="*/ 1158621 h 1620837"/>
              <a:gd name="connsiteX3" fmla="*/ 2355851 w 2355851"/>
              <a:gd name="connsiteY3" fmla="*/ 1161703 h 1620837"/>
              <a:gd name="connsiteX4" fmla="*/ 2192635 w 2355851"/>
              <a:gd name="connsiteY4" fmla="*/ 1180191 h 1620837"/>
              <a:gd name="connsiteX5" fmla="*/ 1576727 w 2355851"/>
              <a:gd name="connsiteY5" fmla="*/ 825826 h 1620837"/>
              <a:gd name="connsiteX6" fmla="*/ 1552090 w 2355851"/>
              <a:gd name="connsiteY6" fmla="*/ 776523 h 1620837"/>
              <a:gd name="connsiteX7" fmla="*/ 1505897 w 2355851"/>
              <a:gd name="connsiteY7" fmla="*/ 730301 h 1620837"/>
              <a:gd name="connsiteX8" fmla="*/ 1401193 w 2355851"/>
              <a:gd name="connsiteY8" fmla="*/ 699487 h 1620837"/>
              <a:gd name="connsiteX9" fmla="*/ 1253375 w 2355851"/>
              <a:gd name="connsiteY9" fmla="*/ 776523 h 1620837"/>
              <a:gd name="connsiteX10" fmla="*/ 1222579 w 2355851"/>
              <a:gd name="connsiteY10" fmla="*/ 862803 h 1620837"/>
              <a:gd name="connsiteX11" fmla="*/ 1222579 w 2355851"/>
              <a:gd name="connsiteY11" fmla="*/ 912106 h 1620837"/>
              <a:gd name="connsiteX12" fmla="*/ 1219500 w 2355851"/>
              <a:gd name="connsiteY12" fmla="*/ 912106 h 1620837"/>
              <a:gd name="connsiteX13" fmla="*/ 1222579 w 2355851"/>
              <a:gd name="connsiteY13" fmla="*/ 915188 h 1620837"/>
              <a:gd name="connsiteX14" fmla="*/ 511204 w 2355851"/>
              <a:gd name="connsiteY14" fmla="*/ 1620837 h 1620837"/>
              <a:gd name="connsiteX15" fmla="*/ 508125 w 2355851"/>
              <a:gd name="connsiteY15" fmla="*/ 1620837 h 1620837"/>
              <a:gd name="connsiteX16" fmla="*/ 0 w 2355851"/>
              <a:gd name="connsiteY16" fmla="*/ 1402055 h 1620837"/>
              <a:gd name="connsiteX17" fmla="*/ 1490499 w 2355851"/>
              <a:gd name="connsiteY17" fmla="*/ 0 h 1620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55851" h="1620837">
                <a:moveTo>
                  <a:pt x="1490499" y="0"/>
                </a:moveTo>
                <a:cubicBezTo>
                  <a:pt x="1490499" y="0"/>
                  <a:pt x="1490499" y="0"/>
                  <a:pt x="2091010" y="163316"/>
                </a:cubicBezTo>
                <a:cubicBezTo>
                  <a:pt x="2091010" y="163316"/>
                  <a:pt x="2091010" y="163316"/>
                  <a:pt x="2355851" y="1158621"/>
                </a:cubicBezTo>
                <a:cubicBezTo>
                  <a:pt x="2355851" y="1158621"/>
                  <a:pt x="2355851" y="1158621"/>
                  <a:pt x="2355851" y="1161703"/>
                </a:cubicBezTo>
                <a:cubicBezTo>
                  <a:pt x="2300419" y="1174029"/>
                  <a:pt x="2248067" y="1180191"/>
                  <a:pt x="2192635" y="1180191"/>
                </a:cubicBezTo>
                <a:cubicBezTo>
                  <a:pt x="1946272" y="1180191"/>
                  <a:pt x="1709147" y="1050771"/>
                  <a:pt x="1576727" y="825826"/>
                </a:cubicBezTo>
                <a:cubicBezTo>
                  <a:pt x="1576727" y="825826"/>
                  <a:pt x="1576727" y="825826"/>
                  <a:pt x="1552090" y="776523"/>
                </a:cubicBezTo>
                <a:cubicBezTo>
                  <a:pt x="1539772" y="761116"/>
                  <a:pt x="1524374" y="745708"/>
                  <a:pt x="1505897" y="730301"/>
                </a:cubicBezTo>
                <a:cubicBezTo>
                  <a:pt x="1475102" y="708731"/>
                  <a:pt x="1438147" y="699487"/>
                  <a:pt x="1401193" y="699487"/>
                </a:cubicBezTo>
                <a:cubicBezTo>
                  <a:pt x="1345761" y="699487"/>
                  <a:pt x="1287249" y="727220"/>
                  <a:pt x="1253375" y="776523"/>
                </a:cubicBezTo>
                <a:cubicBezTo>
                  <a:pt x="1234897" y="804256"/>
                  <a:pt x="1225659" y="831989"/>
                  <a:pt x="1222579" y="862803"/>
                </a:cubicBezTo>
                <a:cubicBezTo>
                  <a:pt x="1222579" y="862803"/>
                  <a:pt x="1222579" y="862803"/>
                  <a:pt x="1222579" y="912106"/>
                </a:cubicBezTo>
                <a:cubicBezTo>
                  <a:pt x="1222579" y="912106"/>
                  <a:pt x="1222579" y="912106"/>
                  <a:pt x="1219500" y="912106"/>
                </a:cubicBezTo>
                <a:cubicBezTo>
                  <a:pt x="1219500" y="912106"/>
                  <a:pt x="1222579" y="915188"/>
                  <a:pt x="1222579" y="915188"/>
                </a:cubicBezTo>
                <a:cubicBezTo>
                  <a:pt x="1219500" y="1306530"/>
                  <a:pt x="902306" y="1620837"/>
                  <a:pt x="511204" y="1620837"/>
                </a:cubicBezTo>
                <a:cubicBezTo>
                  <a:pt x="511204" y="1620837"/>
                  <a:pt x="508125" y="1620837"/>
                  <a:pt x="508125" y="1620837"/>
                </a:cubicBezTo>
                <a:cubicBezTo>
                  <a:pt x="307955" y="1620837"/>
                  <a:pt x="129341" y="1534557"/>
                  <a:pt x="0" y="1402055"/>
                </a:cubicBezTo>
                <a:cubicBezTo>
                  <a:pt x="0" y="1402055"/>
                  <a:pt x="0" y="1402055"/>
                  <a:pt x="1490499" y="0"/>
                </a:cubicBezTo>
                <a:close/>
              </a:path>
            </a:pathLst>
          </a:custGeom>
          <a:solidFill>
            <a:srgbClr val="F460A1">
              <a:alpha val="60000"/>
            </a:srgbClr>
          </a:solidFill>
        </p:spPr>
        <p:txBody>
          <a:bodyPr wrap="square">
            <a:noAutofit/>
          </a:bodyPr>
          <a:lstStyle>
            <a:lvl1pPr marL="0" indent="0">
              <a:buNone/>
              <a:defRPr>
                <a:solidFill>
                  <a:schemeClr val="tx1"/>
                </a:solidFill>
              </a:defRPr>
            </a:lvl1pPr>
          </a:lstStyle>
          <a:p>
            <a:pPr lvl="0"/>
            <a:r>
              <a:rPr lang="nl-NL" dirty="0"/>
              <a:t>      </a:t>
            </a:r>
          </a:p>
        </p:txBody>
      </p:sp>
    </p:spTree>
    <p:extLst>
      <p:ext uri="{BB962C8B-B14F-4D97-AF65-F5344CB8AC3E}">
        <p14:creationId xmlns:p14="http://schemas.microsoft.com/office/powerpoint/2010/main" val="42634714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Only" preserve="1">
  <p:cSld name="Alleen titel">
    <p:spTree>
      <p:nvGrpSpPr>
        <p:cNvPr id="1" name=""/>
        <p:cNvGrpSpPr/>
        <p:nvPr/>
      </p:nvGrpSpPr>
      <p:grpSpPr>
        <a:xfrm>
          <a:off x="0" y="0"/>
          <a:ext cx="0" cy="0"/>
          <a:chOff x="0" y="0"/>
          <a:chExt cx="0" cy="0"/>
        </a:xfrm>
      </p:grpSpPr>
      <p:graphicFrame>
        <p:nvGraphicFramePr>
          <p:cNvPr id="7" name="Object 6" hidden="1">
            <a:extLst>
              <a:ext uri="{FF2B5EF4-FFF2-40B4-BE49-F238E27FC236}">
                <a16:creationId xmlns="" xmlns:a16="http://schemas.microsoft.com/office/drawing/2014/main" id="{0A27CFD0-E57E-40F9-BE1F-0E3D7DDEF690}"/>
              </a:ext>
            </a:extLst>
          </p:cNvPr>
          <p:cNvGraphicFramePr>
            <a:graphicFrameLocks noChangeAspect="1"/>
          </p:cNvGraphicFramePr>
          <p:nvPr userDrawn="1">
            <p:custDataLst>
              <p:tags r:id="rId2"/>
            </p:custDataLst>
            <p:extLst>
              <p:ext uri="{D42A27DB-BD31-4B8C-83A1-F6EECF244321}">
                <p14:modId xmlns:p14="http://schemas.microsoft.com/office/powerpoint/2010/main" val="8777521"/>
              </p:ext>
            </p:extLst>
          </p:nvPr>
        </p:nvGraphicFramePr>
        <p:xfrm>
          <a:off x="2118" y="1589"/>
          <a:ext cx="2117" cy="1588"/>
        </p:xfrm>
        <a:graphic>
          <a:graphicData uri="http://schemas.openxmlformats.org/presentationml/2006/ole">
            <mc:AlternateContent xmlns:mc="http://schemas.openxmlformats.org/markup-compatibility/2006">
              <mc:Choice xmlns:v="urn:schemas-microsoft-com:vml" Requires="v">
                <p:oleObj spid="_x0000_s19543" name="think-cell Slide" r:id="rId5" imgW="338" imgH="337" progId="TCLayout.ActiveDocument.1">
                  <p:embed/>
                </p:oleObj>
              </mc:Choice>
              <mc:Fallback>
                <p:oleObj name="think-cell Slide" r:id="rId5" imgW="338" imgH="337" progId="TCLayout.ActiveDocument.1">
                  <p:embed/>
                  <p:pic>
                    <p:nvPicPr>
                      <p:cNvPr id="7" name="Object 6" hidden="1">
                        <a:extLst>
                          <a:ext uri="{FF2B5EF4-FFF2-40B4-BE49-F238E27FC236}">
                            <a16:creationId xmlns="" xmlns:a16="http://schemas.microsoft.com/office/drawing/2014/main" id="{0A27CFD0-E57E-40F9-BE1F-0E3D7DDEF690}"/>
                          </a:ext>
                        </a:extLst>
                      </p:cNvPr>
                      <p:cNvPicPr/>
                      <p:nvPr/>
                    </p:nvPicPr>
                    <p:blipFill>
                      <a:blip r:embed="rId6"/>
                      <a:stretch>
                        <a:fillRect/>
                      </a:stretch>
                    </p:blipFill>
                    <p:spPr>
                      <a:xfrm>
                        <a:off x="2118" y="1589"/>
                        <a:ext cx="2117" cy="1588"/>
                      </a:xfrm>
                      <a:prstGeom prst="rect">
                        <a:avLst/>
                      </a:prstGeom>
                    </p:spPr>
                  </p:pic>
                </p:oleObj>
              </mc:Fallback>
            </mc:AlternateContent>
          </a:graphicData>
        </a:graphic>
      </p:graphicFrame>
      <p:sp>
        <p:nvSpPr>
          <p:cNvPr id="6" name="Rechthoek 5" hidden="1">
            <a:extLst>
              <a:ext uri="{FF2B5EF4-FFF2-40B4-BE49-F238E27FC236}">
                <a16:creationId xmlns="" xmlns:a16="http://schemas.microsoft.com/office/drawing/2014/main" id="{C4805D77-1012-42AE-905C-1828F5FA549F}"/>
              </a:ext>
            </a:extLst>
          </p:cNvPr>
          <p:cNvSpPr/>
          <p:nvPr userDrawn="1">
            <p:custDataLst>
              <p:tags r:id="rId3"/>
            </p:custDataLst>
          </p:nvPr>
        </p:nvSpPr>
        <p:spPr>
          <a:xfrm>
            <a:off x="0" y="1"/>
            <a:ext cx="211667"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nl-NL" sz="3600" b="1"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958853" y="892176"/>
            <a:ext cx="10274300" cy="590931"/>
          </a:xfrm>
        </p:spPr>
        <p:txBody>
          <a:bodyPr/>
          <a:lstStyle/>
          <a:p>
            <a:r>
              <a:rPr lang="nl-NL" smtClean="0"/>
              <a:t>Klik om de stijl te bewerken</a:t>
            </a:r>
            <a:endParaRPr lang="en-US" dirty="0"/>
          </a:p>
        </p:txBody>
      </p:sp>
      <p:sp>
        <p:nvSpPr>
          <p:cNvPr id="5" name="Slide Number Placeholder 4"/>
          <p:cNvSpPr>
            <a:spLocks noGrp="1"/>
          </p:cNvSpPr>
          <p:nvPr>
            <p:ph type="sldNum" sz="quarter" idx="12"/>
          </p:nvPr>
        </p:nvSpPr>
        <p:spPr/>
        <p:txBody>
          <a:bodyPr/>
          <a:lstStyle/>
          <a:p>
            <a:fld id="{4D317D64-8544-4CC7-AF15-ED4E6224A2A5}" type="slidenum">
              <a:rPr lang="nl-NL" smtClean="0"/>
              <a:t>‹nr.›</a:t>
            </a:fld>
            <a:endParaRPr lang="nl-NL"/>
          </a:p>
        </p:txBody>
      </p:sp>
    </p:spTree>
    <p:extLst>
      <p:ext uri="{BB962C8B-B14F-4D97-AF65-F5344CB8AC3E}">
        <p14:creationId xmlns:p14="http://schemas.microsoft.com/office/powerpoint/2010/main" val="30999724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Alleen subtitel">
    <p:spTree>
      <p:nvGrpSpPr>
        <p:cNvPr id="1" name=""/>
        <p:cNvGrpSpPr/>
        <p:nvPr/>
      </p:nvGrpSpPr>
      <p:grpSpPr>
        <a:xfrm>
          <a:off x="0" y="0"/>
          <a:ext cx="0" cy="0"/>
          <a:chOff x="0" y="0"/>
          <a:chExt cx="0" cy="0"/>
        </a:xfrm>
      </p:grpSpPr>
      <p:graphicFrame>
        <p:nvGraphicFramePr>
          <p:cNvPr id="7" name="Object 6" hidden="1">
            <a:extLst>
              <a:ext uri="{FF2B5EF4-FFF2-40B4-BE49-F238E27FC236}">
                <a16:creationId xmlns="" xmlns:a16="http://schemas.microsoft.com/office/drawing/2014/main" id="{0A27CFD0-E57E-40F9-BE1F-0E3D7DDEF690}"/>
              </a:ext>
            </a:extLst>
          </p:cNvPr>
          <p:cNvGraphicFramePr>
            <a:graphicFrameLocks noChangeAspect="1"/>
          </p:cNvGraphicFramePr>
          <p:nvPr userDrawn="1">
            <p:custDataLst>
              <p:tags r:id="rId2"/>
            </p:custDataLst>
            <p:extLst>
              <p:ext uri="{D42A27DB-BD31-4B8C-83A1-F6EECF244321}">
                <p14:modId xmlns:p14="http://schemas.microsoft.com/office/powerpoint/2010/main" val="225654485"/>
              </p:ext>
            </p:extLst>
          </p:nvPr>
        </p:nvGraphicFramePr>
        <p:xfrm>
          <a:off x="2118" y="1589"/>
          <a:ext cx="2117" cy="1588"/>
        </p:xfrm>
        <a:graphic>
          <a:graphicData uri="http://schemas.openxmlformats.org/presentationml/2006/ole">
            <mc:AlternateContent xmlns:mc="http://schemas.openxmlformats.org/markup-compatibility/2006">
              <mc:Choice xmlns:v="urn:schemas-microsoft-com:vml" Requires="v">
                <p:oleObj spid="_x0000_s24649" name="think-cell Slide" r:id="rId5" imgW="338" imgH="337" progId="TCLayout.ActiveDocument.1">
                  <p:embed/>
                </p:oleObj>
              </mc:Choice>
              <mc:Fallback>
                <p:oleObj name="think-cell Slide" r:id="rId5" imgW="338" imgH="337" progId="TCLayout.ActiveDocument.1">
                  <p:embed/>
                  <p:pic>
                    <p:nvPicPr>
                      <p:cNvPr id="7" name="Object 6" hidden="1">
                        <a:extLst>
                          <a:ext uri="{FF2B5EF4-FFF2-40B4-BE49-F238E27FC236}">
                            <a16:creationId xmlns="" xmlns:a16="http://schemas.microsoft.com/office/drawing/2014/main" id="{0A27CFD0-E57E-40F9-BE1F-0E3D7DDEF690}"/>
                          </a:ext>
                        </a:extLst>
                      </p:cNvPr>
                      <p:cNvPicPr/>
                      <p:nvPr/>
                    </p:nvPicPr>
                    <p:blipFill>
                      <a:blip r:embed="rId6"/>
                      <a:stretch>
                        <a:fillRect/>
                      </a:stretch>
                    </p:blipFill>
                    <p:spPr>
                      <a:xfrm>
                        <a:off x="2118" y="1589"/>
                        <a:ext cx="2117" cy="1588"/>
                      </a:xfrm>
                      <a:prstGeom prst="rect">
                        <a:avLst/>
                      </a:prstGeom>
                    </p:spPr>
                  </p:pic>
                </p:oleObj>
              </mc:Fallback>
            </mc:AlternateContent>
          </a:graphicData>
        </a:graphic>
      </p:graphicFrame>
      <p:sp>
        <p:nvSpPr>
          <p:cNvPr id="6" name="Rechthoek 5" hidden="1">
            <a:extLst>
              <a:ext uri="{FF2B5EF4-FFF2-40B4-BE49-F238E27FC236}">
                <a16:creationId xmlns="" xmlns:a16="http://schemas.microsoft.com/office/drawing/2014/main" id="{C4805D77-1012-42AE-905C-1828F5FA549F}"/>
              </a:ext>
            </a:extLst>
          </p:cNvPr>
          <p:cNvSpPr/>
          <p:nvPr userDrawn="1">
            <p:custDataLst>
              <p:tags r:id="rId3"/>
            </p:custDataLst>
          </p:nvPr>
        </p:nvSpPr>
        <p:spPr>
          <a:xfrm>
            <a:off x="0" y="1"/>
            <a:ext cx="211667"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nl-NL" sz="5867" b="0" i="0" baseline="0" dirty="0">
              <a:latin typeface="Calibri" panose="020F0502020204030204" pitchFamily="34" charset="0"/>
              <a:ea typeface="+mj-ea"/>
              <a:cs typeface="+mj-cs"/>
              <a:sym typeface="Calibri" panose="020F0502020204030204" pitchFamily="34" charset="0"/>
            </a:endParaRPr>
          </a:p>
        </p:txBody>
      </p:sp>
      <p:sp>
        <p:nvSpPr>
          <p:cNvPr id="5" name="Slide Number Placeholder 4"/>
          <p:cNvSpPr>
            <a:spLocks noGrp="1"/>
          </p:cNvSpPr>
          <p:nvPr>
            <p:ph type="sldNum" sz="quarter" idx="12"/>
          </p:nvPr>
        </p:nvSpPr>
        <p:spPr/>
        <p:txBody>
          <a:bodyPr/>
          <a:lstStyle/>
          <a:p>
            <a:fld id="{4D317D64-8544-4CC7-AF15-ED4E6224A2A5}" type="slidenum">
              <a:rPr lang="nl-NL" smtClean="0"/>
              <a:t>‹nr.›</a:t>
            </a:fld>
            <a:endParaRPr lang="nl-NL"/>
          </a:p>
        </p:txBody>
      </p:sp>
      <p:sp>
        <p:nvSpPr>
          <p:cNvPr id="8" name="Tijdelijke aanduiding voor tekst 3">
            <a:extLst>
              <a:ext uri="{FF2B5EF4-FFF2-40B4-BE49-F238E27FC236}">
                <a16:creationId xmlns="" xmlns:a16="http://schemas.microsoft.com/office/drawing/2014/main" id="{79728309-5EDA-4DC8-A3B7-270B279A92F6}"/>
              </a:ext>
            </a:extLst>
          </p:cNvPr>
          <p:cNvSpPr>
            <a:spLocks noGrp="1"/>
          </p:cNvSpPr>
          <p:nvPr>
            <p:ph type="body" sz="quarter" idx="13" hasCustomPrompt="1"/>
          </p:nvPr>
        </p:nvSpPr>
        <p:spPr>
          <a:xfrm>
            <a:off x="958853" y="327058"/>
            <a:ext cx="10274300" cy="413617"/>
          </a:xfrm>
        </p:spPr>
        <p:txBody>
          <a:bodyPr>
            <a:spAutoFit/>
          </a:bodyPr>
          <a:lstStyle>
            <a:lvl1pPr marL="0" indent="0">
              <a:buNone/>
              <a:defRPr sz="2400"/>
            </a:lvl1pPr>
          </a:lstStyle>
          <a:p>
            <a:pPr lvl="0"/>
            <a:r>
              <a:rPr lang="nl-NL" dirty="0"/>
              <a:t>Subtitel</a:t>
            </a:r>
          </a:p>
        </p:txBody>
      </p:sp>
    </p:spTree>
    <p:extLst>
      <p:ext uri="{BB962C8B-B14F-4D97-AF65-F5344CB8AC3E}">
        <p14:creationId xmlns:p14="http://schemas.microsoft.com/office/powerpoint/2010/main" val="42311520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Lee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4D317D64-8544-4CC7-AF15-ED4E6224A2A5}" type="slidenum">
              <a:rPr lang="nl-NL" smtClean="0"/>
              <a:t>‹nr.›</a:t>
            </a:fld>
            <a:endParaRPr lang="nl-NL"/>
          </a:p>
        </p:txBody>
      </p:sp>
    </p:spTree>
    <p:extLst>
      <p:ext uri="{BB962C8B-B14F-4D97-AF65-F5344CB8AC3E}">
        <p14:creationId xmlns:p14="http://schemas.microsoft.com/office/powerpoint/2010/main" val="18774144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reserve="1">
  <p:cSld name="Uitleg sjabloo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 xmlns:a16="http://schemas.microsoft.com/office/drawing/2014/main" id="{23073FBE-96D5-4629-8BB7-CAEE7BC3F8AD}"/>
              </a:ext>
            </a:extLst>
          </p:cNvPr>
          <p:cNvGraphicFramePr>
            <a:graphicFrameLocks noChangeAspect="1"/>
          </p:cNvGraphicFramePr>
          <p:nvPr userDrawn="1">
            <p:custDataLst>
              <p:tags r:id="rId2"/>
            </p:custDataLst>
            <p:extLst>
              <p:ext uri="{D42A27DB-BD31-4B8C-83A1-F6EECF244321}">
                <p14:modId xmlns:p14="http://schemas.microsoft.com/office/powerpoint/2010/main" val="4107510481"/>
              </p:ext>
            </p:extLst>
          </p:nvPr>
        </p:nvGraphicFramePr>
        <p:xfrm>
          <a:off x="2118" y="1589"/>
          <a:ext cx="2117" cy="1588"/>
        </p:xfrm>
        <a:graphic>
          <a:graphicData uri="http://schemas.openxmlformats.org/presentationml/2006/ole">
            <mc:AlternateContent xmlns:mc="http://schemas.openxmlformats.org/markup-compatibility/2006">
              <mc:Choice xmlns:v="urn:schemas-microsoft-com:vml" Requires="v">
                <p:oleObj spid="_x0000_s25669" name="think-cell Slide" r:id="rId5" imgW="338" imgH="337" progId="TCLayout.ActiveDocument.1">
                  <p:embed/>
                </p:oleObj>
              </mc:Choice>
              <mc:Fallback>
                <p:oleObj name="think-cell Slide" r:id="rId5" imgW="338" imgH="337" progId="TCLayout.ActiveDocument.1">
                  <p:embed/>
                  <p:pic>
                    <p:nvPicPr>
                      <p:cNvPr id="0" name=""/>
                      <p:cNvPicPr/>
                      <p:nvPr/>
                    </p:nvPicPr>
                    <p:blipFill>
                      <a:blip r:embed="rId6"/>
                      <a:stretch>
                        <a:fillRect/>
                      </a:stretch>
                    </p:blipFill>
                    <p:spPr>
                      <a:xfrm>
                        <a:off x="2118" y="1589"/>
                        <a:ext cx="2117" cy="1588"/>
                      </a:xfrm>
                      <a:prstGeom prst="rect">
                        <a:avLst/>
                      </a:prstGeom>
                    </p:spPr>
                  </p:pic>
                </p:oleObj>
              </mc:Fallback>
            </mc:AlternateContent>
          </a:graphicData>
        </a:graphic>
      </p:graphicFrame>
      <p:pic>
        <p:nvPicPr>
          <p:cNvPr id="30" name="Afbeelding 29">
            <a:extLst>
              <a:ext uri="{FF2B5EF4-FFF2-40B4-BE49-F238E27FC236}">
                <a16:creationId xmlns="" xmlns:a16="http://schemas.microsoft.com/office/drawing/2014/main" id="{74FB894F-0FE5-4CC9-921D-65D4FFB68708}"/>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b="2546"/>
          <a:stretch/>
        </p:blipFill>
        <p:spPr>
          <a:xfrm>
            <a:off x="958851" y="1765541"/>
            <a:ext cx="1869344" cy="3733463"/>
          </a:xfrm>
          <a:prstGeom prst="rect">
            <a:avLst/>
          </a:prstGeom>
          <a:effectLst>
            <a:outerShdw blurRad="63500" sx="101000" sy="101000" algn="ctr" rotWithShape="0">
              <a:prstClr val="black">
                <a:alpha val="20000"/>
              </a:prstClr>
            </a:outerShdw>
          </a:effectLst>
        </p:spPr>
      </p:pic>
      <p:sp>
        <p:nvSpPr>
          <p:cNvPr id="4" name="Slide Number Placeholder 3"/>
          <p:cNvSpPr>
            <a:spLocks noGrp="1"/>
          </p:cNvSpPr>
          <p:nvPr>
            <p:ph type="sldNum" sz="quarter" idx="12"/>
          </p:nvPr>
        </p:nvSpPr>
        <p:spPr/>
        <p:txBody>
          <a:bodyPr/>
          <a:lstStyle/>
          <a:p>
            <a:fld id="{4D317D64-8544-4CC7-AF15-ED4E6224A2A5}" type="slidenum">
              <a:rPr lang="nl-NL" smtClean="0"/>
              <a:t>‹nr.›</a:t>
            </a:fld>
            <a:endParaRPr lang="nl-NL"/>
          </a:p>
        </p:txBody>
      </p:sp>
      <p:sp>
        <p:nvSpPr>
          <p:cNvPr id="3" name="Title 1">
            <a:extLst>
              <a:ext uri="{FF2B5EF4-FFF2-40B4-BE49-F238E27FC236}">
                <a16:creationId xmlns="" xmlns:a16="http://schemas.microsoft.com/office/drawing/2014/main" id="{56009D04-3EA8-4757-88B0-0ED6E12247FA}"/>
              </a:ext>
            </a:extLst>
          </p:cNvPr>
          <p:cNvSpPr txBox="1">
            <a:spLocks/>
          </p:cNvSpPr>
          <p:nvPr userDrawn="1"/>
        </p:nvSpPr>
        <p:spPr>
          <a:xfrm>
            <a:off x="958853" y="486020"/>
            <a:ext cx="10274300" cy="4985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200" b="1" kern="1200">
                <a:solidFill>
                  <a:schemeClr val="accent1"/>
                </a:solidFill>
                <a:latin typeface="+mj-lt"/>
                <a:ea typeface="+mj-ea"/>
                <a:cs typeface="+mj-cs"/>
              </a:defRPr>
            </a:lvl1pPr>
          </a:lstStyle>
          <a:p>
            <a:r>
              <a:rPr lang="nl-NL" sz="3600" dirty="0"/>
              <a:t>Korte uitleg bij dit sjabloon</a:t>
            </a:r>
            <a:endParaRPr lang="en-US" sz="3600" dirty="0"/>
          </a:p>
        </p:txBody>
      </p:sp>
      <p:sp>
        <p:nvSpPr>
          <p:cNvPr id="6" name="Content Placeholder 3">
            <a:extLst>
              <a:ext uri="{FF2B5EF4-FFF2-40B4-BE49-F238E27FC236}">
                <a16:creationId xmlns="" xmlns:a16="http://schemas.microsoft.com/office/drawing/2014/main" id="{710D41C6-A3F1-4154-9ED6-AEE81A0F19D9}"/>
              </a:ext>
            </a:extLst>
          </p:cNvPr>
          <p:cNvSpPr txBox="1">
            <a:spLocks/>
          </p:cNvSpPr>
          <p:nvPr userDrawn="1"/>
        </p:nvSpPr>
        <p:spPr>
          <a:xfrm>
            <a:off x="958852" y="1147674"/>
            <a:ext cx="5505449" cy="374846"/>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8"/>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FontTx/>
              <a:buNone/>
            </a:pPr>
            <a:r>
              <a:rPr lang="nl-NL" sz="1050" dirty="0">
                <a:effectLst/>
                <a:latin typeface="Calibri" panose="020F0502020204030204" pitchFamily="34" charset="0"/>
                <a:ea typeface="Calibri" panose="020F0502020204030204" pitchFamily="34" charset="0"/>
                <a:cs typeface="Times New Roman" panose="02020603050405020304" pitchFamily="18" charset="0"/>
              </a:rPr>
              <a:t>Wanneer je een nieuwe presentatie start, staan hier een aantal basis dia’s. Maar deze kun je ook aanvullen met andere dia’s en indelingen.</a:t>
            </a:r>
            <a:endParaRPr lang="nl-NL" sz="1050" noProof="0" dirty="0">
              <a:solidFill>
                <a:schemeClr val="tx1"/>
              </a:solidFill>
              <a:latin typeface="+mn-lt"/>
            </a:endParaRPr>
          </a:p>
        </p:txBody>
      </p:sp>
      <p:sp>
        <p:nvSpPr>
          <p:cNvPr id="7" name="Content Placeholder 3">
            <a:extLst>
              <a:ext uri="{FF2B5EF4-FFF2-40B4-BE49-F238E27FC236}">
                <a16:creationId xmlns="" xmlns:a16="http://schemas.microsoft.com/office/drawing/2014/main" id="{A73460DD-68A9-4A36-9322-A113908243A9}"/>
              </a:ext>
            </a:extLst>
          </p:cNvPr>
          <p:cNvSpPr txBox="1">
            <a:spLocks/>
          </p:cNvSpPr>
          <p:nvPr userDrawn="1"/>
        </p:nvSpPr>
        <p:spPr>
          <a:xfrm>
            <a:off x="2975429" y="1765541"/>
            <a:ext cx="3590471" cy="3865032"/>
          </a:xfrm>
          <a:prstGeom prst="rect">
            <a:avLst/>
          </a:prstGeom>
        </p:spPr>
        <p:txBody>
          <a:bodyPr vert="horz" wrap="square" lIns="0" tIns="0" rIns="0" bIns="0" rtlCol="0" anchor="t" anchorCtr="0">
            <a:spAutoFit/>
          </a:bodyPr>
          <a:lstStyle>
            <a:lvl1pPr marL="269875" indent="-269875" algn="l" defTabSz="914400" rtl="0" eaLnBrk="1" latinLnBrk="0" hangingPunct="1">
              <a:lnSpc>
                <a:spcPct val="120000"/>
              </a:lnSpc>
              <a:spcBef>
                <a:spcPts val="0"/>
              </a:spcBef>
              <a:buSzPct val="80000"/>
              <a:buFontTx/>
              <a:buBlip>
                <a:blip r:embed="rId8"/>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SzPct val="100000"/>
              <a:buFont typeface="+mj-lt"/>
              <a:buNone/>
            </a:pPr>
            <a:r>
              <a:rPr lang="nl-NL" sz="1050" noProof="0" dirty="0">
                <a:solidFill>
                  <a:schemeClr val="tx1"/>
                </a:solidFill>
                <a:latin typeface="+mn-lt"/>
              </a:rPr>
              <a:t>Klik op het tabblad </a:t>
            </a:r>
            <a:r>
              <a:rPr lang="nl-NL" sz="1050" b="0" noProof="0" dirty="0">
                <a:solidFill>
                  <a:schemeClr val="tx1"/>
                </a:solidFill>
                <a:latin typeface="+mn-lt"/>
              </a:rPr>
              <a:t>Start</a:t>
            </a:r>
            <a:r>
              <a:rPr lang="nl-NL" sz="1050" noProof="0" dirty="0">
                <a:solidFill>
                  <a:schemeClr val="tx1"/>
                </a:solidFill>
                <a:latin typeface="+mn-lt"/>
              </a:rPr>
              <a:t> op </a:t>
            </a:r>
            <a:r>
              <a:rPr lang="nl-NL" sz="1050" b="1" noProof="0" dirty="0">
                <a:solidFill>
                  <a:schemeClr val="tx1"/>
                </a:solidFill>
                <a:latin typeface="+mn-lt"/>
              </a:rPr>
              <a:t>Nieuwe dia</a:t>
            </a:r>
            <a:r>
              <a:rPr lang="nl-NL" sz="1050" noProof="0" dirty="0">
                <a:solidFill>
                  <a:schemeClr val="tx1"/>
                </a:solidFill>
                <a:latin typeface="+mn-lt"/>
              </a:rPr>
              <a:t>. Hier zie je verschillende indelingen. </a:t>
            </a:r>
          </a:p>
          <a:p>
            <a:pPr marL="0" indent="0">
              <a:lnSpc>
                <a:spcPct val="120000"/>
              </a:lnSpc>
              <a:buSzPct val="100000"/>
              <a:buFont typeface="+mj-lt"/>
              <a:buNone/>
            </a:pPr>
            <a:endParaRPr lang="nl-NL" sz="1050" noProof="0" dirty="0">
              <a:solidFill>
                <a:schemeClr val="tx1"/>
              </a:solidFill>
              <a:latin typeface="+mn-lt"/>
            </a:endParaRPr>
          </a:p>
          <a:p>
            <a:pPr marL="0" indent="0">
              <a:lnSpc>
                <a:spcPct val="120000"/>
              </a:lnSpc>
              <a:buSzPct val="100000"/>
              <a:buFont typeface="+mj-lt"/>
              <a:buNone/>
            </a:pPr>
            <a:r>
              <a:rPr lang="nl-NL" sz="1050" noProof="0" dirty="0">
                <a:solidFill>
                  <a:schemeClr val="tx1"/>
                </a:solidFill>
                <a:latin typeface="+mn-lt"/>
              </a:rPr>
              <a:t>Op de dia’s met indeling ‘</a:t>
            </a:r>
            <a:r>
              <a:rPr lang="nl-NL" sz="1050" noProof="0" dirty="0" err="1">
                <a:solidFill>
                  <a:schemeClr val="tx1"/>
                </a:solidFill>
                <a:latin typeface="+mn-lt"/>
              </a:rPr>
              <a:t>Titeldia</a:t>
            </a:r>
            <a:r>
              <a:rPr lang="nl-NL" sz="1050" noProof="0" dirty="0">
                <a:solidFill>
                  <a:schemeClr val="tx1"/>
                </a:solidFill>
                <a:latin typeface="+mn-lt"/>
              </a:rPr>
              <a:t>’ en ‘Logo vorm met afbeeldingen’, kun je foto’s in de vorm wijzigen. Volg hiervoor de volgende stappen:</a:t>
            </a:r>
          </a:p>
          <a:p>
            <a:pPr marL="243411" indent="-243411">
              <a:lnSpc>
                <a:spcPct val="120000"/>
              </a:lnSpc>
              <a:buSzPct val="100000"/>
              <a:buFont typeface="Lato" panose="020F0502020204030203" pitchFamily="34" charset="0"/>
              <a:buChar char="–"/>
            </a:pPr>
            <a:r>
              <a:rPr lang="nl-NL" sz="1050" noProof="0" dirty="0">
                <a:solidFill>
                  <a:schemeClr val="tx1"/>
                </a:solidFill>
                <a:latin typeface="+mn-lt"/>
              </a:rPr>
              <a:t>Verschuif het gekleurde vlak zodat je bij het pictogram voor afbeeldingen kunt</a:t>
            </a:r>
          </a:p>
          <a:p>
            <a:pPr marL="243411" indent="-243411">
              <a:lnSpc>
                <a:spcPct val="120000"/>
              </a:lnSpc>
              <a:buSzPct val="100000"/>
              <a:buFont typeface="Lato" panose="020F0502020204030203" pitchFamily="34" charset="0"/>
              <a:buChar char="–"/>
            </a:pPr>
            <a:r>
              <a:rPr lang="nl-NL" sz="1050" noProof="0" dirty="0">
                <a:solidFill>
                  <a:schemeClr val="tx1"/>
                </a:solidFill>
                <a:latin typeface="+mn-lt"/>
              </a:rPr>
              <a:t>Voeg een afbeelding in</a:t>
            </a:r>
          </a:p>
          <a:p>
            <a:pPr marL="243411" indent="-243411">
              <a:lnSpc>
                <a:spcPct val="120000"/>
              </a:lnSpc>
              <a:buSzPct val="100000"/>
              <a:buFont typeface="Lato" panose="020F0502020204030203" pitchFamily="34" charset="0"/>
              <a:buChar char="–"/>
            </a:pPr>
            <a:r>
              <a:rPr lang="nl-NL" sz="1050" noProof="0" dirty="0">
                <a:solidFill>
                  <a:schemeClr val="tx1"/>
                </a:solidFill>
                <a:latin typeface="+mn-lt"/>
              </a:rPr>
              <a:t>Wanneer je de foto hebt verschoven of hebt vergroot of verkleind, neem je nog de volgende stappen</a:t>
            </a:r>
          </a:p>
          <a:p>
            <a:pPr marL="480472" lvl="1" indent="-243411">
              <a:lnSpc>
                <a:spcPct val="120000"/>
              </a:lnSpc>
              <a:buSzPct val="100000"/>
              <a:buFont typeface="Lato" panose="020F0502020204030203" pitchFamily="34" charset="0"/>
              <a:buChar char="–"/>
            </a:pPr>
            <a:r>
              <a:rPr lang="nl-NL" sz="1050" noProof="0" dirty="0">
                <a:solidFill>
                  <a:schemeClr val="tx1"/>
                </a:solidFill>
                <a:latin typeface="+mn-lt"/>
              </a:rPr>
              <a:t>Selecteer de foto’s</a:t>
            </a:r>
          </a:p>
          <a:p>
            <a:pPr marL="480472" lvl="1" indent="-243411">
              <a:lnSpc>
                <a:spcPct val="120000"/>
              </a:lnSpc>
              <a:buSzPct val="100000"/>
              <a:buFont typeface="Lato" panose="020F0502020204030203" pitchFamily="34" charset="0"/>
              <a:buChar char="–"/>
            </a:pPr>
            <a:r>
              <a:rPr lang="nl-NL" sz="1050" noProof="0" dirty="0">
                <a:solidFill>
                  <a:schemeClr val="tx1"/>
                </a:solidFill>
                <a:latin typeface="+mn-lt"/>
              </a:rPr>
              <a:t>Ga in het lint naar Hulpmiddelen voor afbeeldingen – </a:t>
            </a:r>
            <a:r>
              <a:rPr lang="nl-NL" sz="1050" b="1" noProof="0" dirty="0">
                <a:solidFill>
                  <a:schemeClr val="tx1"/>
                </a:solidFill>
                <a:latin typeface="+mn-lt"/>
              </a:rPr>
              <a:t>Opmaak</a:t>
            </a:r>
          </a:p>
          <a:p>
            <a:pPr marL="480472" lvl="1" indent="-243411">
              <a:lnSpc>
                <a:spcPct val="120000"/>
              </a:lnSpc>
              <a:buSzPct val="100000"/>
              <a:buFont typeface="Lato" panose="020F0502020204030203" pitchFamily="34" charset="0"/>
              <a:buChar char="–"/>
            </a:pPr>
            <a:r>
              <a:rPr lang="nl-NL" sz="1050" b="0" noProof="0" dirty="0">
                <a:solidFill>
                  <a:schemeClr val="tx1"/>
                </a:solidFill>
                <a:latin typeface="+mn-lt"/>
              </a:rPr>
              <a:t>Klik op afbeeldingen comprimeren en vul als volgt in (in zo hoog mogelijke resolutie):</a:t>
            </a:r>
            <a:br>
              <a:rPr lang="nl-NL" sz="1050" b="0" noProof="0" dirty="0">
                <a:solidFill>
                  <a:schemeClr val="tx1"/>
                </a:solidFill>
                <a:latin typeface="+mn-lt"/>
              </a:rPr>
            </a:br>
            <a:r>
              <a:rPr lang="nl-NL" sz="1050" b="0" noProof="0" dirty="0">
                <a:solidFill>
                  <a:schemeClr val="tx1"/>
                </a:solidFill>
                <a:latin typeface="+mn-lt"/>
              </a:rPr>
              <a:t> </a:t>
            </a:r>
          </a:p>
          <a:p>
            <a:pPr marL="243411" indent="-243411">
              <a:lnSpc>
                <a:spcPct val="120000"/>
              </a:lnSpc>
              <a:buSzPct val="100000"/>
              <a:buFont typeface="Lato" panose="020F0502020204030203" pitchFamily="34" charset="0"/>
              <a:buChar char="–"/>
            </a:pPr>
            <a:endParaRPr lang="nl-NL" sz="1050" noProof="0" dirty="0">
              <a:solidFill>
                <a:schemeClr val="tx1"/>
              </a:solidFill>
              <a:latin typeface="+mn-lt"/>
            </a:endParaRPr>
          </a:p>
          <a:p>
            <a:pPr marL="243411" indent="-243411">
              <a:lnSpc>
                <a:spcPct val="120000"/>
              </a:lnSpc>
              <a:buSzPct val="100000"/>
              <a:buFont typeface="Lato" panose="020F0502020204030203" pitchFamily="34" charset="0"/>
              <a:buChar char="–"/>
            </a:pPr>
            <a:endParaRPr lang="nl-NL" sz="1050" noProof="0" dirty="0">
              <a:solidFill>
                <a:schemeClr val="tx1"/>
              </a:solidFill>
              <a:latin typeface="+mn-lt"/>
            </a:endParaRPr>
          </a:p>
          <a:p>
            <a:pPr marL="243411" indent="-243411">
              <a:lnSpc>
                <a:spcPct val="120000"/>
              </a:lnSpc>
              <a:buSzPct val="100000"/>
              <a:buFont typeface="Lato" panose="020F0502020204030203" pitchFamily="34" charset="0"/>
              <a:buChar char="–"/>
            </a:pPr>
            <a:r>
              <a:rPr lang="nl-NL" sz="1050" noProof="0" dirty="0">
                <a:solidFill>
                  <a:schemeClr val="tx1"/>
                </a:solidFill>
                <a:latin typeface="+mn-lt"/>
              </a:rPr>
              <a:t>Klik op het tabblad </a:t>
            </a:r>
            <a:r>
              <a:rPr lang="nl-NL" sz="1050" b="1" noProof="0" dirty="0">
                <a:solidFill>
                  <a:schemeClr val="tx1"/>
                </a:solidFill>
                <a:latin typeface="+mn-lt"/>
              </a:rPr>
              <a:t>Start</a:t>
            </a:r>
            <a:r>
              <a:rPr lang="nl-NL" sz="1050" noProof="0" dirty="0">
                <a:solidFill>
                  <a:schemeClr val="tx1"/>
                </a:solidFill>
                <a:latin typeface="+mn-lt"/>
              </a:rPr>
              <a:t> en vervolgens op </a:t>
            </a:r>
            <a:r>
              <a:rPr lang="nl-NL" sz="1050" b="1" noProof="0" dirty="0">
                <a:solidFill>
                  <a:schemeClr val="tx1"/>
                </a:solidFill>
                <a:latin typeface="+mn-lt"/>
              </a:rPr>
              <a:t>Opnieuw instellen</a:t>
            </a:r>
          </a:p>
        </p:txBody>
      </p:sp>
      <p:pic>
        <p:nvPicPr>
          <p:cNvPr id="13" name="Picture 7" descr="Pictogrammen in de indeling Titel en object">
            <a:extLst>
              <a:ext uri="{FF2B5EF4-FFF2-40B4-BE49-F238E27FC236}">
                <a16:creationId xmlns="" xmlns:a16="http://schemas.microsoft.com/office/drawing/2014/main" id="{1E7B7239-5360-4933-9030-8F55879DE0A6}"/>
              </a:ext>
            </a:extLst>
          </p:cNvPr>
          <p:cNvPicPr>
            <a:picLocks noChangeAspect="1" noChangeArrowheads="1"/>
          </p:cNvPicPr>
          <p:nvPr userDrawn="1">
            <p:custDataLst>
              <p:tags r:id="rId3"/>
            </p:custDataLst>
          </p:nvPr>
        </p:nvPicPr>
        <p:blipFill>
          <a:blip r:embed="rId9" cstate="print">
            <a:extLst>
              <a:ext uri="{28A0092B-C50C-407E-A947-70E740481C1C}">
                <a14:useLocalDpi xmlns:a14="http://schemas.microsoft.com/office/drawing/2010/main" val="0"/>
              </a:ext>
            </a:extLst>
          </a:blip>
          <a:srcRect/>
          <a:stretch>
            <a:fillRect/>
          </a:stretch>
        </p:blipFill>
        <p:spPr bwMode="auto">
          <a:xfrm>
            <a:off x="7311987" y="1147675"/>
            <a:ext cx="967740" cy="508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Content Placeholder 4">
            <a:extLst>
              <a:ext uri="{FF2B5EF4-FFF2-40B4-BE49-F238E27FC236}">
                <a16:creationId xmlns="" xmlns:a16="http://schemas.microsoft.com/office/drawing/2014/main" id="{2624C4E8-CF9A-49BB-B4FA-31FC333D7A1D}"/>
              </a:ext>
            </a:extLst>
          </p:cNvPr>
          <p:cNvSpPr txBox="1">
            <a:spLocks/>
          </p:cNvSpPr>
          <p:nvPr userDrawn="1"/>
        </p:nvSpPr>
        <p:spPr>
          <a:xfrm>
            <a:off x="7311983" y="2064814"/>
            <a:ext cx="3921168" cy="524311"/>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8"/>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10000"/>
              </a:lnSpc>
              <a:buFontTx/>
              <a:buNone/>
            </a:pPr>
            <a:r>
              <a:rPr lang="nl-NL" sz="1050" noProof="0" dirty="0">
                <a:solidFill>
                  <a:schemeClr val="tx1"/>
                </a:solidFill>
                <a:latin typeface="+mn-lt"/>
              </a:rPr>
              <a:t>In sommige figuren staat alleen een pictogram voor </a:t>
            </a:r>
            <a:r>
              <a:rPr lang="nl-NL" sz="1050" b="1" noProof="0" dirty="0">
                <a:solidFill>
                  <a:schemeClr val="tx1"/>
                </a:solidFill>
                <a:latin typeface="+mn-lt"/>
              </a:rPr>
              <a:t>afbeeldingen</a:t>
            </a:r>
            <a:r>
              <a:rPr lang="nl-NL" sz="1050" noProof="0" dirty="0">
                <a:solidFill>
                  <a:schemeClr val="tx1"/>
                </a:solidFill>
                <a:latin typeface="+mn-lt"/>
              </a:rPr>
              <a:t>. Als je daarop klikt, kun je een foto invoegen. Deze wordt dan op maat gemaakt voor het figuur.</a:t>
            </a:r>
          </a:p>
        </p:txBody>
      </p:sp>
      <p:sp>
        <p:nvSpPr>
          <p:cNvPr id="16" name="Content Placeholder 4">
            <a:extLst>
              <a:ext uri="{FF2B5EF4-FFF2-40B4-BE49-F238E27FC236}">
                <a16:creationId xmlns="" xmlns:a16="http://schemas.microsoft.com/office/drawing/2014/main" id="{0394165A-5A7E-4C34-9364-9AD037D92546}"/>
              </a:ext>
            </a:extLst>
          </p:cNvPr>
          <p:cNvSpPr txBox="1">
            <a:spLocks/>
          </p:cNvSpPr>
          <p:nvPr userDrawn="1"/>
        </p:nvSpPr>
        <p:spPr>
          <a:xfrm>
            <a:off x="7311985" y="2644897"/>
            <a:ext cx="3237484" cy="346570"/>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8"/>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10000"/>
              </a:lnSpc>
              <a:buFontTx/>
              <a:buNone/>
            </a:pPr>
            <a:r>
              <a:rPr lang="nl-NL" sz="1050" noProof="0" dirty="0">
                <a:solidFill>
                  <a:schemeClr val="tx1"/>
                </a:solidFill>
                <a:latin typeface="+mn-lt"/>
              </a:rPr>
              <a:t>Als je vervolgens de foto wilt </a:t>
            </a:r>
            <a:r>
              <a:rPr lang="nl-NL" sz="1050" b="1" noProof="0" dirty="0">
                <a:solidFill>
                  <a:schemeClr val="tx1"/>
                </a:solidFill>
                <a:latin typeface="+mn-lt"/>
              </a:rPr>
              <a:t>verschuiven</a:t>
            </a:r>
            <a:r>
              <a:rPr lang="nl-NL" sz="1050" noProof="0" dirty="0">
                <a:solidFill>
                  <a:schemeClr val="tx1"/>
                </a:solidFill>
                <a:latin typeface="+mn-lt"/>
              </a:rPr>
              <a:t> of </a:t>
            </a:r>
            <a:r>
              <a:rPr lang="nl-NL" sz="1050" b="1" noProof="0" dirty="0">
                <a:solidFill>
                  <a:schemeClr val="tx1"/>
                </a:solidFill>
                <a:latin typeface="+mn-lt"/>
              </a:rPr>
              <a:t>vergroten/verkleinen</a:t>
            </a:r>
            <a:r>
              <a:rPr lang="nl-NL" sz="1050" noProof="0" dirty="0">
                <a:solidFill>
                  <a:schemeClr val="tx1"/>
                </a:solidFill>
                <a:latin typeface="+mn-lt"/>
              </a:rPr>
              <a:t>, volg dan deze stappen:</a:t>
            </a:r>
          </a:p>
        </p:txBody>
      </p:sp>
      <p:pic>
        <p:nvPicPr>
          <p:cNvPr id="17" name="Afbeelding 16">
            <a:extLst>
              <a:ext uri="{FF2B5EF4-FFF2-40B4-BE49-F238E27FC236}">
                <a16:creationId xmlns="" xmlns:a16="http://schemas.microsoft.com/office/drawing/2014/main" id="{6D70E469-4FA3-471B-A622-AF8047925C63}"/>
              </a:ext>
            </a:extLst>
          </p:cNvPr>
          <p:cNvPicPr>
            <a:picLocks noChangeAspect="1"/>
          </p:cNvPicPr>
          <p:nvPr userDrawn="1"/>
        </p:nvPicPr>
        <p:blipFill rotWithShape="1">
          <a:blip r:embed="rId10">
            <a:extLst>
              <a:ext uri="{28A0092B-C50C-407E-A947-70E740481C1C}">
                <a14:useLocalDpi xmlns:a14="http://schemas.microsoft.com/office/drawing/2010/main" val="0"/>
              </a:ext>
            </a:extLst>
          </a:blip>
          <a:srcRect b="17659"/>
          <a:stretch/>
        </p:blipFill>
        <p:spPr>
          <a:xfrm>
            <a:off x="9264128" y="3074870"/>
            <a:ext cx="419921" cy="476920"/>
          </a:xfrm>
          <a:prstGeom prst="rect">
            <a:avLst/>
          </a:prstGeom>
          <a:effectLst>
            <a:outerShdw blurRad="63500" sx="102000" sy="102000" algn="ctr" rotWithShape="0">
              <a:prstClr val="black">
                <a:alpha val="20000"/>
              </a:prstClr>
            </a:outerShdw>
          </a:effectLst>
        </p:spPr>
      </p:pic>
      <p:sp>
        <p:nvSpPr>
          <p:cNvPr id="23" name="Tekstvak 22">
            <a:extLst>
              <a:ext uri="{FF2B5EF4-FFF2-40B4-BE49-F238E27FC236}">
                <a16:creationId xmlns="" xmlns:a16="http://schemas.microsoft.com/office/drawing/2014/main" id="{D14C443C-4E5C-4256-BC49-D9348D978789}"/>
              </a:ext>
            </a:extLst>
          </p:cNvPr>
          <p:cNvSpPr txBox="1"/>
          <p:nvPr userDrawn="1"/>
        </p:nvSpPr>
        <p:spPr>
          <a:xfrm>
            <a:off x="9636559" y="4497399"/>
            <a:ext cx="1596591" cy="161583"/>
          </a:xfrm>
          <a:prstGeom prst="rect">
            <a:avLst/>
          </a:prstGeom>
          <a:noFill/>
        </p:spPr>
        <p:txBody>
          <a:bodyPr wrap="none" lIns="0" tIns="0" rIns="0" bIns="0" rtlCol="0">
            <a:spAutoFit/>
          </a:bodyPr>
          <a:lstStyle/>
          <a:p>
            <a:pPr algn="l"/>
            <a:r>
              <a:rPr lang="nl-NL" sz="1050" b="1" dirty="0"/>
              <a:t>Themakleuren ‘s Heeren Loo</a:t>
            </a:r>
          </a:p>
        </p:txBody>
      </p:sp>
      <p:pic>
        <p:nvPicPr>
          <p:cNvPr id="29" name="Afbeelding 28">
            <a:extLst>
              <a:ext uri="{FF2B5EF4-FFF2-40B4-BE49-F238E27FC236}">
                <a16:creationId xmlns="" xmlns:a16="http://schemas.microsoft.com/office/drawing/2014/main" id="{DB6E3A12-4519-4EDF-A842-4AB8EF3933C9}"/>
              </a:ext>
            </a:extLst>
          </p:cNvPr>
          <p:cNvPicPr>
            <a:picLocks noChangeAspect="1"/>
          </p:cNvPicPr>
          <p:nvPr userDrawn="1"/>
        </p:nvPicPr>
        <p:blipFill rotWithShape="1">
          <a:blip r:embed="rId11">
            <a:extLst>
              <a:ext uri="{28A0092B-C50C-407E-A947-70E740481C1C}">
                <a14:useLocalDpi xmlns:a14="http://schemas.microsoft.com/office/drawing/2010/main" val="0"/>
              </a:ext>
            </a:extLst>
          </a:blip>
          <a:srcRect/>
          <a:stretch/>
        </p:blipFill>
        <p:spPr>
          <a:xfrm>
            <a:off x="9712653" y="4739640"/>
            <a:ext cx="1520497" cy="983851"/>
          </a:xfrm>
          <a:prstGeom prst="rect">
            <a:avLst/>
          </a:prstGeom>
          <a:effectLst>
            <a:outerShdw blurRad="63500" sx="101000" sy="101000" algn="ctr" rotWithShape="0">
              <a:prstClr val="black">
                <a:alpha val="20000"/>
              </a:prstClr>
            </a:outerShdw>
          </a:effectLst>
        </p:spPr>
      </p:pic>
      <p:sp>
        <p:nvSpPr>
          <p:cNvPr id="12" name="Content Placeholder 4">
            <a:extLst>
              <a:ext uri="{FF2B5EF4-FFF2-40B4-BE49-F238E27FC236}">
                <a16:creationId xmlns="" xmlns:a16="http://schemas.microsoft.com/office/drawing/2014/main" id="{BD7987AA-5862-429E-B654-4E7CF626A4CF}"/>
              </a:ext>
            </a:extLst>
          </p:cNvPr>
          <p:cNvSpPr txBox="1">
            <a:spLocks/>
          </p:cNvSpPr>
          <p:nvPr userDrawn="1"/>
        </p:nvSpPr>
        <p:spPr>
          <a:xfrm>
            <a:off x="8514701" y="1147675"/>
            <a:ext cx="2718452" cy="879793"/>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8"/>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ct val="110000"/>
              </a:lnSpc>
              <a:spcBef>
                <a:spcPts val="0"/>
              </a:spcBef>
              <a:spcAft>
                <a:spcPts val="0"/>
              </a:spcAft>
              <a:buClrTx/>
              <a:buSzPct val="80000"/>
              <a:buFontTx/>
              <a:buNone/>
              <a:tabLst/>
              <a:defRPr/>
            </a:pPr>
            <a:r>
              <a:rPr lang="nl-NL" sz="1050" noProof="0" dirty="0">
                <a:solidFill>
                  <a:schemeClr val="tx1"/>
                </a:solidFill>
                <a:latin typeface="+mn-lt"/>
              </a:rPr>
              <a:t>Een aantal dia’s bevatten een blok met </a:t>
            </a:r>
            <a:r>
              <a:rPr lang="nl-NL" sz="1050" b="1" noProof="0" dirty="0">
                <a:solidFill>
                  <a:schemeClr val="tx1"/>
                </a:solidFill>
                <a:latin typeface="+mn-lt"/>
              </a:rPr>
              <a:t>pictogrammen</a:t>
            </a:r>
            <a:r>
              <a:rPr lang="nl-NL" sz="1050" noProof="0" dirty="0">
                <a:solidFill>
                  <a:schemeClr val="tx1"/>
                </a:solidFill>
                <a:latin typeface="+mn-lt"/>
              </a:rPr>
              <a:t>. Hiermee kun je o.a. een afbeelding, grafiek of tabel invoegen. Je kunt de pictogrammen ook negeren en een tekst in het blok typen.</a:t>
            </a:r>
          </a:p>
        </p:txBody>
      </p:sp>
      <p:sp>
        <p:nvSpPr>
          <p:cNvPr id="20" name="Content Placeholder 4">
            <a:extLst>
              <a:ext uri="{FF2B5EF4-FFF2-40B4-BE49-F238E27FC236}">
                <a16:creationId xmlns="" xmlns:a16="http://schemas.microsoft.com/office/drawing/2014/main" id="{F86E718F-B956-4638-BFDF-7D9E79B8EAC5}"/>
              </a:ext>
            </a:extLst>
          </p:cNvPr>
          <p:cNvSpPr txBox="1">
            <a:spLocks/>
          </p:cNvSpPr>
          <p:nvPr userDrawn="1"/>
        </p:nvSpPr>
        <p:spPr>
          <a:xfrm>
            <a:off x="7311983" y="3007916"/>
            <a:ext cx="2047170" cy="2479461"/>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8"/>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41294" indent="-241294">
              <a:lnSpc>
                <a:spcPct val="110000"/>
              </a:lnSpc>
              <a:buFont typeface="Lato" panose="020F0502020204030203" pitchFamily="34" charset="0"/>
              <a:buChar char="–"/>
            </a:pPr>
            <a:r>
              <a:rPr lang="nl-NL" sz="1050" noProof="0" dirty="0">
                <a:solidFill>
                  <a:schemeClr val="tx1"/>
                </a:solidFill>
                <a:latin typeface="+mn-lt"/>
              </a:rPr>
              <a:t>Klik op de foto die je hebt ingevoegd</a:t>
            </a:r>
          </a:p>
          <a:p>
            <a:pPr marL="241294" indent="-241294">
              <a:lnSpc>
                <a:spcPct val="110000"/>
              </a:lnSpc>
              <a:buFont typeface="Lato" panose="020F0502020204030203" pitchFamily="34" charset="0"/>
              <a:buChar char="–"/>
            </a:pPr>
            <a:r>
              <a:rPr lang="nl-NL" sz="1050" noProof="0" dirty="0">
                <a:solidFill>
                  <a:schemeClr val="tx1"/>
                </a:solidFill>
                <a:latin typeface="+mn-lt"/>
              </a:rPr>
              <a:t>Klik in het lint bovenin op Opmaak</a:t>
            </a:r>
          </a:p>
          <a:p>
            <a:pPr marL="241294" indent="-241294">
              <a:lnSpc>
                <a:spcPct val="110000"/>
              </a:lnSpc>
              <a:buFont typeface="Lato" panose="020F0502020204030203" pitchFamily="34" charset="0"/>
              <a:buChar char="–"/>
            </a:pPr>
            <a:r>
              <a:rPr lang="nl-NL" sz="1050" noProof="0" dirty="0">
                <a:solidFill>
                  <a:schemeClr val="tx1"/>
                </a:solidFill>
                <a:latin typeface="+mn-lt"/>
              </a:rPr>
              <a:t>Klik op het icoon boven het woord bijsnijden (rechts)</a:t>
            </a:r>
          </a:p>
          <a:p>
            <a:pPr marL="241294" indent="-241294">
              <a:lnSpc>
                <a:spcPct val="110000"/>
              </a:lnSpc>
              <a:buFont typeface="Lato" panose="020F0502020204030203" pitchFamily="34" charset="0"/>
              <a:buChar char="–"/>
            </a:pPr>
            <a:r>
              <a:rPr lang="nl-NL" sz="1050" noProof="0" dirty="0">
                <a:solidFill>
                  <a:schemeClr val="tx1"/>
                </a:solidFill>
                <a:latin typeface="+mn-lt"/>
              </a:rPr>
              <a:t>Vervolgens kun je de foto verschuiven of vergroten/ verkleinen. De grijze delen geven aan welk gedeelte van de foto niet zichtbaar wordt.</a:t>
            </a:r>
          </a:p>
          <a:p>
            <a:pPr marL="241294" indent="-241294">
              <a:lnSpc>
                <a:spcPct val="110000"/>
              </a:lnSpc>
              <a:buFont typeface="Lato" panose="020F0502020204030203" pitchFamily="34" charset="0"/>
              <a:buChar char="–"/>
            </a:pPr>
            <a:r>
              <a:rPr lang="nl-NL" sz="1050" noProof="0" dirty="0">
                <a:solidFill>
                  <a:schemeClr val="tx1"/>
                </a:solidFill>
                <a:latin typeface="+mn-lt"/>
              </a:rPr>
              <a:t>Daarna klik je opnieuw op het icoon boven het woord bijsnijden (rechts)</a:t>
            </a:r>
          </a:p>
        </p:txBody>
      </p:sp>
      <p:pic>
        <p:nvPicPr>
          <p:cNvPr id="22" name="Afbeelding 21">
            <a:extLst>
              <a:ext uri="{FF2B5EF4-FFF2-40B4-BE49-F238E27FC236}">
                <a16:creationId xmlns="" xmlns:a16="http://schemas.microsoft.com/office/drawing/2014/main" id="{8AAAEB29-F208-4172-8EC1-FF59E338A5A8}"/>
              </a:ext>
            </a:extLst>
          </p:cNvPr>
          <p:cNvPicPr>
            <a:picLocks noChangeAspect="1"/>
          </p:cNvPicPr>
          <p:nvPr userDrawn="1"/>
        </p:nvPicPr>
        <p:blipFill rotWithShape="1">
          <a:blip r:embed="rId12">
            <a:extLst>
              <a:ext uri="{28A0092B-C50C-407E-A947-70E740481C1C}">
                <a14:useLocalDpi xmlns:a14="http://schemas.microsoft.com/office/drawing/2010/main" val="0"/>
              </a:ext>
            </a:extLst>
          </a:blip>
          <a:srcRect/>
          <a:stretch/>
        </p:blipFill>
        <p:spPr>
          <a:xfrm>
            <a:off x="3446632" y="4900331"/>
            <a:ext cx="2125829" cy="500196"/>
          </a:xfrm>
          <a:prstGeom prst="rect">
            <a:avLst/>
          </a:prstGeom>
          <a:effectLst>
            <a:outerShdw blurRad="63500" sx="101000" sy="101000" algn="ctr" rotWithShape="0">
              <a:prstClr val="black">
                <a:alpha val="20000"/>
              </a:prstClr>
            </a:outerShdw>
          </a:effectLst>
        </p:spPr>
      </p:pic>
    </p:spTree>
    <p:extLst>
      <p:ext uri="{BB962C8B-B14F-4D97-AF65-F5344CB8AC3E}">
        <p14:creationId xmlns:p14="http://schemas.microsoft.com/office/powerpoint/2010/main" val="31882873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Custom dia">
    <p:spTree>
      <p:nvGrpSpPr>
        <p:cNvPr id="1" name=""/>
        <p:cNvGrpSpPr/>
        <p:nvPr/>
      </p:nvGrpSpPr>
      <p:grpSpPr>
        <a:xfrm>
          <a:off x="0" y="0"/>
          <a:ext cx="0" cy="0"/>
          <a:chOff x="0" y="0"/>
          <a:chExt cx="0" cy="0"/>
        </a:xfrm>
      </p:grpSpPr>
      <p:sp>
        <p:nvSpPr>
          <p:cNvPr id="4" name="Tijdelijke aanduiding voor datum 3"/>
          <p:cNvSpPr>
            <a:spLocks noGrp="1"/>
          </p:cNvSpPr>
          <p:nvPr>
            <p:ph type="dt" sz="half" idx="10"/>
          </p:nvPr>
        </p:nvSpPr>
        <p:spPr>
          <a:xfrm>
            <a:off x="838200" y="6356350"/>
            <a:ext cx="2743200" cy="365125"/>
          </a:xfrm>
          <a:prstGeom prst="rect">
            <a:avLst/>
          </a:prstGeom>
        </p:spPr>
        <p:txBody>
          <a:bodyPr/>
          <a:lstStyle/>
          <a:p>
            <a:fld id="{ACBB217F-3491-477B-96EB-B65A324740FA}" type="datetime3">
              <a:rPr lang="nl-NL" smtClean="0"/>
              <a:t>12/8/19</a:t>
            </a:fld>
            <a:endParaRPr lang="nl-NL"/>
          </a:p>
        </p:txBody>
      </p:sp>
      <p:sp>
        <p:nvSpPr>
          <p:cNvPr id="5" name="Tijdelijke aanduiding voor voettekst 4"/>
          <p:cNvSpPr>
            <a:spLocks noGrp="1"/>
          </p:cNvSpPr>
          <p:nvPr>
            <p:ph type="ftr" sz="quarter" idx="11"/>
          </p:nvPr>
        </p:nvSpPr>
        <p:spPr>
          <a:xfrm>
            <a:off x="4038600" y="6356350"/>
            <a:ext cx="4114800" cy="365125"/>
          </a:xfrm>
          <a:prstGeom prst="rect">
            <a:avLst/>
          </a:prstGeom>
        </p:spPr>
        <p:txBody>
          <a:bodyPr/>
          <a:lstStyle/>
          <a:p>
            <a:r>
              <a:rPr lang="en-US"/>
              <a:t>Invoegen; Koptekst &amp; Voettekst; Overal toepassen</a:t>
            </a:r>
            <a:endParaRPr lang="nl-NL"/>
          </a:p>
        </p:txBody>
      </p:sp>
      <p:sp>
        <p:nvSpPr>
          <p:cNvPr id="6" name="Tijdelijke aanduiding voor dianummer 5"/>
          <p:cNvSpPr>
            <a:spLocks noGrp="1"/>
          </p:cNvSpPr>
          <p:nvPr>
            <p:ph type="sldNum" sz="quarter" idx="12"/>
          </p:nvPr>
        </p:nvSpPr>
        <p:spPr/>
        <p:txBody>
          <a:bodyPr/>
          <a:lstStyle/>
          <a:p>
            <a:fld id="{1D2F56AF-52DD-4DF6-B439-3FC8E38D39F7}" type="slidenum">
              <a:rPr lang="nl-NL" smtClean="0"/>
              <a:t>‹nr.›</a:t>
            </a:fld>
            <a:endParaRPr lang="nl-NL" dirty="0"/>
          </a:p>
        </p:txBody>
      </p:sp>
      <p:sp>
        <p:nvSpPr>
          <p:cNvPr id="2" name="Titel 1"/>
          <p:cNvSpPr>
            <a:spLocks noGrp="1"/>
          </p:cNvSpPr>
          <p:nvPr>
            <p:ph type="title"/>
          </p:nvPr>
        </p:nvSpPr>
        <p:spPr/>
        <p:txBody>
          <a:bodyPr/>
          <a:lstStyle/>
          <a:p>
            <a:r>
              <a:rPr lang="nl-NL"/>
              <a:t>Klik om de stijl te bewerken</a:t>
            </a:r>
          </a:p>
        </p:txBody>
      </p:sp>
      <p:sp>
        <p:nvSpPr>
          <p:cNvPr id="50" name="Rechthoek 49"/>
          <p:cNvSpPr/>
          <p:nvPr userDrawn="1"/>
        </p:nvSpPr>
        <p:spPr>
          <a:xfrm>
            <a:off x="0" y="-531440"/>
            <a:ext cx="6096000" cy="387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l"/>
            <a:r>
              <a:rPr lang="nl-NL" sz="1999" b="0" spc="0" baseline="0" dirty="0">
                <a:solidFill>
                  <a:schemeClr val="tx2"/>
                </a:solidFill>
                <a:latin typeface="+mj-lt"/>
              </a:rPr>
              <a:t>Custom dia</a:t>
            </a:r>
          </a:p>
        </p:txBody>
      </p:sp>
    </p:spTree>
    <p:extLst>
      <p:ext uri="{BB962C8B-B14F-4D97-AF65-F5344CB8AC3E}">
        <p14:creationId xmlns:p14="http://schemas.microsoft.com/office/powerpoint/2010/main" val="1500876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en object - wi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27ADFAA9-ECB1-4F06-831C-CA2DE0509AB4}"/>
              </a:ext>
            </a:extLst>
          </p:cNvPr>
          <p:cNvGraphicFramePr>
            <a:graphicFrameLocks noChangeAspect="1"/>
          </p:cNvGraphicFramePr>
          <p:nvPr userDrawn="1">
            <p:custDataLst>
              <p:tags r:id="rId2"/>
            </p:custDataLst>
            <p:extLst>
              <p:ext uri="{D42A27DB-BD31-4B8C-83A1-F6EECF244321}">
                <p14:modId xmlns:p14="http://schemas.microsoft.com/office/powerpoint/2010/main" val="22648057"/>
              </p:ext>
            </p:extLst>
          </p:nvPr>
        </p:nvGraphicFramePr>
        <p:xfrm>
          <a:off x="2118" y="1589"/>
          <a:ext cx="2117" cy="1588"/>
        </p:xfrm>
        <a:graphic>
          <a:graphicData uri="http://schemas.openxmlformats.org/presentationml/2006/ole">
            <mc:AlternateContent xmlns:mc="http://schemas.openxmlformats.org/markup-compatibility/2006">
              <mc:Choice xmlns:v="urn:schemas-microsoft-com:vml" Requires="v">
                <p:oleObj spid="_x0000_s12373" name="think-cell Slide" r:id="rId5" imgW="338" imgH="337" progId="TCLayout.ActiveDocument.1">
                  <p:embed/>
                </p:oleObj>
              </mc:Choice>
              <mc:Fallback>
                <p:oleObj name="think-cell Slide" r:id="rId5" imgW="338" imgH="337" progId="TCLayout.ActiveDocument.1">
                  <p:embed/>
                  <p:pic>
                    <p:nvPicPr>
                      <p:cNvPr id="8" name="Object 7" hidden="1">
                        <a:extLst>
                          <a:ext uri="{FF2B5EF4-FFF2-40B4-BE49-F238E27FC236}">
                            <a16:creationId xmlns="" xmlns:a16="http://schemas.microsoft.com/office/drawing/2014/main" id="{27ADFAA9-ECB1-4F06-831C-CA2DE0509AB4}"/>
                          </a:ext>
                        </a:extLst>
                      </p:cNvPr>
                      <p:cNvPicPr/>
                      <p:nvPr/>
                    </p:nvPicPr>
                    <p:blipFill>
                      <a:blip r:embed="rId6"/>
                      <a:stretch>
                        <a:fillRect/>
                      </a:stretch>
                    </p:blipFill>
                    <p:spPr>
                      <a:xfrm>
                        <a:off x="2118" y="1589"/>
                        <a:ext cx="2117" cy="1588"/>
                      </a:xfrm>
                      <a:prstGeom prst="rect">
                        <a:avLst/>
                      </a:prstGeom>
                    </p:spPr>
                  </p:pic>
                </p:oleObj>
              </mc:Fallback>
            </mc:AlternateContent>
          </a:graphicData>
        </a:graphic>
      </p:graphicFrame>
      <p:sp>
        <p:nvSpPr>
          <p:cNvPr id="7" name="Rechthoek 6" hidden="1">
            <a:extLst>
              <a:ext uri="{FF2B5EF4-FFF2-40B4-BE49-F238E27FC236}">
                <a16:creationId xmlns="" xmlns:a16="http://schemas.microsoft.com/office/drawing/2014/main" id="{D6F2EB19-04BC-4A39-BE78-2675134960EA}"/>
              </a:ext>
            </a:extLst>
          </p:cNvPr>
          <p:cNvSpPr/>
          <p:nvPr userDrawn="1">
            <p:custDataLst>
              <p:tags r:id="rId3"/>
            </p:custDataLst>
          </p:nvPr>
        </p:nvSpPr>
        <p:spPr>
          <a:xfrm>
            <a:off x="0" y="1"/>
            <a:ext cx="211667"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nl-NL" sz="3600" b="1"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nl-NL" smtClean="0"/>
              <a:t>Klik om de stijl te bewerken</a:t>
            </a:r>
            <a:endParaRPr lang="en-US" dirty="0"/>
          </a:p>
        </p:txBody>
      </p:sp>
      <p:sp>
        <p:nvSpPr>
          <p:cNvPr id="6" name="Slide Number Placeholder 5"/>
          <p:cNvSpPr>
            <a:spLocks noGrp="1"/>
          </p:cNvSpPr>
          <p:nvPr>
            <p:ph type="sldNum" sz="quarter" idx="12"/>
          </p:nvPr>
        </p:nvSpPr>
        <p:spPr/>
        <p:txBody>
          <a:bodyPr/>
          <a:lstStyle/>
          <a:p>
            <a:fld id="{4D317D64-8544-4CC7-AF15-ED4E6224A2A5}" type="slidenum">
              <a:rPr lang="nl-NL" smtClean="0"/>
              <a:t>‹nr.›</a:t>
            </a:fld>
            <a:endParaRPr lang="nl-NL"/>
          </a:p>
        </p:txBody>
      </p:sp>
      <p:sp>
        <p:nvSpPr>
          <p:cNvPr id="10" name="Tijdelijke aanduiding voor inhoud 9">
            <a:extLst>
              <a:ext uri="{FF2B5EF4-FFF2-40B4-BE49-F238E27FC236}">
                <a16:creationId xmlns="" xmlns:a16="http://schemas.microsoft.com/office/drawing/2014/main" id="{67212A76-59E6-4F9A-9D4F-C5FAAA748DF9}"/>
              </a:ext>
            </a:extLst>
          </p:cNvPr>
          <p:cNvSpPr>
            <a:spLocks noGrp="1"/>
          </p:cNvSpPr>
          <p:nvPr>
            <p:ph sz="quarter" idx="13"/>
          </p:nvPr>
        </p:nvSpPr>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Tree>
    <p:extLst>
      <p:ext uri="{BB962C8B-B14F-4D97-AF65-F5344CB8AC3E}">
        <p14:creationId xmlns:p14="http://schemas.microsoft.com/office/powerpoint/2010/main" val="42458480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en object - blauw">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27ADFAA9-ECB1-4F06-831C-CA2DE0509AB4}"/>
              </a:ext>
            </a:extLst>
          </p:cNvPr>
          <p:cNvGraphicFramePr>
            <a:graphicFrameLocks noChangeAspect="1"/>
          </p:cNvGraphicFramePr>
          <p:nvPr userDrawn="1">
            <p:custDataLst>
              <p:tags r:id="rId2"/>
            </p:custDataLst>
            <p:extLst>
              <p:ext uri="{D42A27DB-BD31-4B8C-83A1-F6EECF244321}">
                <p14:modId xmlns:p14="http://schemas.microsoft.com/office/powerpoint/2010/main" val="1922850871"/>
              </p:ext>
            </p:extLst>
          </p:nvPr>
        </p:nvGraphicFramePr>
        <p:xfrm>
          <a:off x="2118" y="1589"/>
          <a:ext cx="2117" cy="1588"/>
        </p:xfrm>
        <a:graphic>
          <a:graphicData uri="http://schemas.openxmlformats.org/presentationml/2006/ole">
            <mc:AlternateContent xmlns:mc="http://schemas.openxmlformats.org/markup-compatibility/2006">
              <mc:Choice xmlns:v="urn:schemas-microsoft-com:vml" Requires="v">
                <p:oleObj spid="_x0000_s13398" name="think-cell Slide" r:id="rId5" imgW="338" imgH="337" progId="TCLayout.ActiveDocument.1">
                  <p:embed/>
                </p:oleObj>
              </mc:Choice>
              <mc:Fallback>
                <p:oleObj name="think-cell Slide" r:id="rId5" imgW="338" imgH="337" progId="TCLayout.ActiveDocument.1">
                  <p:embed/>
                  <p:pic>
                    <p:nvPicPr>
                      <p:cNvPr id="8" name="Object 7" hidden="1">
                        <a:extLst>
                          <a:ext uri="{FF2B5EF4-FFF2-40B4-BE49-F238E27FC236}">
                            <a16:creationId xmlns="" xmlns:a16="http://schemas.microsoft.com/office/drawing/2014/main" id="{27ADFAA9-ECB1-4F06-831C-CA2DE0509AB4}"/>
                          </a:ext>
                        </a:extLst>
                      </p:cNvPr>
                      <p:cNvPicPr/>
                      <p:nvPr/>
                    </p:nvPicPr>
                    <p:blipFill>
                      <a:blip r:embed="rId6"/>
                      <a:stretch>
                        <a:fillRect/>
                      </a:stretch>
                    </p:blipFill>
                    <p:spPr>
                      <a:xfrm>
                        <a:off x="2118" y="1589"/>
                        <a:ext cx="2117" cy="1588"/>
                      </a:xfrm>
                      <a:prstGeom prst="rect">
                        <a:avLst/>
                      </a:prstGeom>
                    </p:spPr>
                  </p:pic>
                </p:oleObj>
              </mc:Fallback>
            </mc:AlternateContent>
          </a:graphicData>
        </a:graphic>
      </p:graphicFrame>
      <p:sp>
        <p:nvSpPr>
          <p:cNvPr id="7" name="Rechthoek 6" hidden="1">
            <a:extLst>
              <a:ext uri="{FF2B5EF4-FFF2-40B4-BE49-F238E27FC236}">
                <a16:creationId xmlns="" xmlns:a16="http://schemas.microsoft.com/office/drawing/2014/main" id="{D6F2EB19-04BC-4A39-BE78-2675134960EA}"/>
              </a:ext>
            </a:extLst>
          </p:cNvPr>
          <p:cNvSpPr/>
          <p:nvPr userDrawn="1">
            <p:custDataLst>
              <p:tags r:id="rId3"/>
            </p:custDataLst>
          </p:nvPr>
        </p:nvSpPr>
        <p:spPr>
          <a:xfrm>
            <a:off x="0" y="1"/>
            <a:ext cx="211667"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nl-NL" sz="3600" b="1" i="0" baseline="0" dirty="0">
              <a:latin typeface="Calibri" panose="020F0502020204030204" pitchFamily="34" charset="0"/>
              <a:ea typeface="+mj-ea"/>
              <a:cs typeface="+mj-cs"/>
              <a:sym typeface="Calibri" panose="020F0502020204030204" pitchFamily="34" charset="0"/>
            </a:endParaRPr>
          </a:p>
        </p:txBody>
      </p:sp>
      <p:sp>
        <p:nvSpPr>
          <p:cNvPr id="9" name="Vrije vorm: vorm 8">
            <a:extLst>
              <a:ext uri="{FF2B5EF4-FFF2-40B4-BE49-F238E27FC236}">
                <a16:creationId xmlns="" xmlns:a16="http://schemas.microsoft.com/office/drawing/2014/main" id="{C58EE52A-D66D-4B23-ABAC-4960A782CF7F}"/>
              </a:ext>
            </a:extLst>
          </p:cNvPr>
          <p:cNvSpPr>
            <a:spLocks/>
          </p:cNvSpPr>
          <p:nvPr userDrawn="1"/>
        </p:nvSpPr>
        <p:spPr bwMode="auto">
          <a:xfrm>
            <a:off x="-3176" y="5838996"/>
            <a:ext cx="12196800" cy="1019004"/>
          </a:xfrm>
          <a:custGeom>
            <a:avLst/>
            <a:gdLst>
              <a:gd name="connsiteX0" fmla="*/ 531572 w 12196800"/>
              <a:gd name="connsiteY0" fmla="*/ 684 h 1019004"/>
              <a:gd name="connsiteX1" fmla="*/ 597522 w 12196800"/>
              <a:gd name="connsiteY1" fmla="*/ 9767 h 1019004"/>
              <a:gd name="connsiteX2" fmla="*/ 600701 w 12196800"/>
              <a:gd name="connsiteY2" fmla="*/ 9767 h 1019004"/>
              <a:gd name="connsiteX3" fmla="*/ 937601 w 12196800"/>
              <a:gd name="connsiteY3" fmla="*/ 426961 h 1019004"/>
              <a:gd name="connsiteX4" fmla="*/ 937601 w 12196800"/>
              <a:gd name="connsiteY4" fmla="*/ 462262 h 1019004"/>
              <a:gd name="connsiteX5" fmla="*/ 947136 w 12196800"/>
              <a:gd name="connsiteY5" fmla="*/ 497564 h 1019004"/>
              <a:gd name="connsiteX6" fmla="*/ 1093338 w 12196800"/>
              <a:gd name="connsiteY6" fmla="*/ 548911 h 1019004"/>
              <a:gd name="connsiteX7" fmla="*/ 1134656 w 12196800"/>
              <a:gd name="connsiteY7" fmla="*/ 516819 h 1019004"/>
              <a:gd name="connsiteX8" fmla="*/ 1150548 w 12196800"/>
              <a:gd name="connsiteY8" fmla="*/ 487936 h 1019004"/>
              <a:gd name="connsiteX9" fmla="*/ 1525588 w 12196800"/>
              <a:gd name="connsiteY9" fmla="*/ 276129 h 1019004"/>
              <a:gd name="connsiteX10" fmla="*/ 5615335 w 12196800"/>
              <a:gd name="connsiteY10" fmla="*/ 276129 h 1019004"/>
              <a:gd name="connsiteX11" fmla="*/ 5840449 w 12196800"/>
              <a:gd name="connsiteY11" fmla="*/ 276129 h 1019004"/>
              <a:gd name="connsiteX12" fmla="*/ 5840449 w 12196800"/>
              <a:gd name="connsiteY12" fmla="*/ 276053 h 1019004"/>
              <a:gd name="connsiteX13" fmla="*/ 12195175 w 12196800"/>
              <a:gd name="connsiteY13" fmla="*/ 276053 h 1019004"/>
              <a:gd name="connsiteX14" fmla="*/ 12195175 w 12196800"/>
              <a:gd name="connsiteY14" fmla="*/ 866604 h 1019004"/>
              <a:gd name="connsiteX15" fmla="*/ 12196800 w 12196800"/>
              <a:gd name="connsiteY15" fmla="*/ 866604 h 1019004"/>
              <a:gd name="connsiteX16" fmla="*/ 12196800 w 12196800"/>
              <a:gd name="connsiteY16" fmla="*/ 1019004 h 1019004"/>
              <a:gd name="connsiteX17" fmla="*/ 12195175 w 12196800"/>
              <a:gd name="connsiteY17" fmla="*/ 1019004 h 1019004"/>
              <a:gd name="connsiteX18" fmla="*/ 0 w 12196800"/>
              <a:gd name="connsiteY18" fmla="*/ 1019004 h 1019004"/>
              <a:gd name="connsiteX19" fmla="*/ 0 w 12196800"/>
              <a:gd name="connsiteY19" fmla="*/ 1014243 h 1019004"/>
              <a:gd name="connsiteX20" fmla="*/ 0 w 12196800"/>
              <a:gd name="connsiteY20" fmla="*/ 866604 h 1019004"/>
              <a:gd name="connsiteX21" fmla="*/ 0 w 12196800"/>
              <a:gd name="connsiteY21" fmla="*/ 282548 h 1019004"/>
              <a:gd name="connsiteX22" fmla="*/ 31783 w 12196800"/>
              <a:gd name="connsiteY22" fmla="*/ 282548 h 1019004"/>
              <a:gd name="connsiteX23" fmla="*/ 88993 w 12196800"/>
              <a:gd name="connsiteY23" fmla="*/ 266502 h 1019004"/>
              <a:gd name="connsiteX24" fmla="*/ 130311 w 12196800"/>
              <a:gd name="connsiteY24" fmla="*/ 227992 h 1019004"/>
              <a:gd name="connsiteX25" fmla="*/ 136667 w 12196800"/>
              <a:gd name="connsiteY25" fmla="*/ 211946 h 1019004"/>
              <a:gd name="connsiteX26" fmla="*/ 531572 w 12196800"/>
              <a:gd name="connsiteY26" fmla="*/ 684 h 1019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196800" h="1019004">
                <a:moveTo>
                  <a:pt x="531572" y="684"/>
                </a:moveTo>
                <a:cubicBezTo>
                  <a:pt x="553622" y="1944"/>
                  <a:pt x="575671" y="4953"/>
                  <a:pt x="597522" y="9767"/>
                </a:cubicBezTo>
                <a:lnTo>
                  <a:pt x="600701" y="9767"/>
                </a:lnTo>
                <a:cubicBezTo>
                  <a:pt x="791399" y="51486"/>
                  <a:pt x="937601" y="224782"/>
                  <a:pt x="937601" y="426961"/>
                </a:cubicBezTo>
                <a:lnTo>
                  <a:pt x="937601" y="462262"/>
                </a:lnTo>
                <a:cubicBezTo>
                  <a:pt x="937601" y="471890"/>
                  <a:pt x="940780" y="484727"/>
                  <a:pt x="947136" y="497564"/>
                </a:cubicBezTo>
                <a:cubicBezTo>
                  <a:pt x="972563" y="552120"/>
                  <a:pt x="1039307" y="577793"/>
                  <a:pt x="1093338" y="548911"/>
                </a:cubicBezTo>
                <a:cubicBezTo>
                  <a:pt x="1109230" y="542492"/>
                  <a:pt x="1125121" y="529655"/>
                  <a:pt x="1134656" y="516819"/>
                </a:cubicBezTo>
                <a:lnTo>
                  <a:pt x="1150548" y="487936"/>
                </a:lnTo>
                <a:cubicBezTo>
                  <a:pt x="1230006" y="349941"/>
                  <a:pt x="1376208" y="276129"/>
                  <a:pt x="1525588" y="276129"/>
                </a:cubicBezTo>
                <a:lnTo>
                  <a:pt x="5615335" y="276129"/>
                </a:lnTo>
                <a:lnTo>
                  <a:pt x="5840449" y="276129"/>
                </a:lnTo>
                <a:lnTo>
                  <a:pt x="5840449" y="276053"/>
                </a:lnTo>
                <a:lnTo>
                  <a:pt x="12195175" y="276053"/>
                </a:lnTo>
                <a:lnTo>
                  <a:pt x="12195175" y="866604"/>
                </a:lnTo>
                <a:lnTo>
                  <a:pt x="12196800" y="866604"/>
                </a:lnTo>
                <a:lnTo>
                  <a:pt x="12196800" y="1019004"/>
                </a:lnTo>
                <a:lnTo>
                  <a:pt x="12195175" y="1019004"/>
                </a:lnTo>
                <a:lnTo>
                  <a:pt x="0" y="1019004"/>
                </a:lnTo>
                <a:lnTo>
                  <a:pt x="0" y="1014243"/>
                </a:lnTo>
                <a:lnTo>
                  <a:pt x="0" y="866604"/>
                </a:lnTo>
                <a:lnTo>
                  <a:pt x="0" y="282548"/>
                </a:lnTo>
                <a:lnTo>
                  <a:pt x="31783" y="282548"/>
                </a:lnTo>
                <a:cubicBezTo>
                  <a:pt x="50853" y="282548"/>
                  <a:pt x="69923" y="276129"/>
                  <a:pt x="88993" y="266502"/>
                </a:cubicBezTo>
                <a:cubicBezTo>
                  <a:pt x="104884" y="256874"/>
                  <a:pt x="120776" y="244037"/>
                  <a:pt x="130311" y="227992"/>
                </a:cubicBezTo>
                <a:lnTo>
                  <a:pt x="136667" y="211946"/>
                </a:lnTo>
                <a:cubicBezTo>
                  <a:pt x="222879" y="68735"/>
                  <a:pt x="377226" y="-8135"/>
                  <a:pt x="531572" y="684"/>
                </a:cubicBezTo>
                <a:close/>
              </a:path>
            </a:pathLst>
          </a:custGeom>
          <a:solidFill>
            <a:schemeClr val="bg1"/>
          </a:solidFill>
          <a:ln>
            <a:noFill/>
          </a:ln>
          <a:extLst/>
        </p:spPr>
        <p:txBody>
          <a:bodyPr vert="horz" wrap="square" lIns="91440" tIns="45720" rIns="91440" bIns="45720" numCol="1" anchor="t" anchorCtr="0" compatLnSpc="1">
            <a:prstTxWarp prst="textNoShape">
              <a:avLst/>
            </a:prstTxWarp>
            <a:noAutofit/>
          </a:bodyPr>
          <a:lstStyle/>
          <a:p>
            <a:endParaRPr lang="nl-NL" sz="1800"/>
          </a:p>
        </p:txBody>
      </p:sp>
      <p:sp>
        <p:nvSpPr>
          <p:cNvPr id="2" name="Title 1"/>
          <p:cNvSpPr>
            <a:spLocks noGrp="1"/>
          </p:cNvSpPr>
          <p:nvPr>
            <p:ph type="title"/>
          </p:nvPr>
        </p:nvSpPr>
        <p:spPr/>
        <p:txBody>
          <a:bodyPr/>
          <a:lstStyle>
            <a:lvl1pPr>
              <a:defRPr>
                <a:solidFill>
                  <a:schemeClr val="bg1"/>
                </a:solidFill>
              </a:defRPr>
            </a:lvl1pPr>
          </a:lstStyle>
          <a:p>
            <a:r>
              <a:rPr lang="nl-NL" smtClean="0"/>
              <a:t>Klik om de stijl te bewerken</a:t>
            </a:r>
            <a:endParaRPr lang="en-US" dirty="0"/>
          </a:p>
        </p:txBody>
      </p:sp>
      <p:sp>
        <p:nvSpPr>
          <p:cNvPr id="6" name="Slide Number Placeholder 5"/>
          <p:cNvSpPr>
            <a:spLocks noGrp="1"/>
          </p:cNvSpPr>
          <p:nvPr>
            <p:ph type="sldNum" sz="quarter" idx="12"/>
          </p:nvPr>
        </p:nvSpPr>
        <p:spPr/>
        <p:txBody>
          <a:bodyPr/>
          <a:lstStyle>
            <a:lvl1pPr>
              <a:defRPr>
                <a:solidFill>
                  <a:schemeClr val="accent1"/>
                </a:solidFill>
              </a:defRPr>
            </a:lvl1pPr>
          </a:lstStyle>
          <a:p>
            <a:fld id="{4D317D64-8544-4CC7-AF15-ED4E6224A2A5}" type="slidenum">
              <a:rPr lang="nl-NL" smtClean="0"/>
              <a:pPr/>
              <a:t>‹nr.›</a:t>
            </a:fld>
            <a:endParaRPr lang="nl-NL"/>
          </a:p>
        </p:txBody>
      </p:sp>
      <p:sp>
        <p:nvSpPr>
          <p:cNvPr id="10" name="Tijdelijke aanduiding voor inhoud 9">
            <a:extLst>
              <a:ext uri="{FF2B5EF4-FFF2-40B4-BE49-F238E27FC236}">
                <a16:creationId xmlns="" xmlns:a16="http://schemas.microsoft.com/office/drawing/2014/main" id="{67212A76-59E6-4F9A-9D4F-C5FAAA748DF9}"/>
              </a:ext>
            </a:extLst>
          </p:cNvPr>
          <p:cNvSpPr>
            <a:spLocks noGrp="1"/>
          </p:cNvSpPr>
          <p:nvPr>
            <p:ph sz="quarter" idx="13"/>
          </p:nvPr>
        </p:nvSpPr>
        <p:spPr/>
        <p:txBody>
          <a:bodyPr/>
          <a:lstStyle>
            <a:lvl1pPr marL="474121" indent="-474121">
              <a:buFontTx/>
              <a:buBlip>
                <a:blip r:embed="rId7"/>
              </a:buBlip>
              <a:defRPr>
                <a:solidFill>
                  <a:schemeClr val="bg1"/>
                </a:solidFill>
              </a:defRPr>
            </a:lvl1pPr>
            <a:lvl2pPr marL="711182" indent="-237061">
              <a:buFontTx/>
              <a:buBlip>
                <a:blip r:embed="rId8"/>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dirty="0"/>
          </a:p>
        </p:txBody>
      </p:sp>
      <p:pic>
        <p:nvPicPr>
          <p:cNvPr id="4" name="Afbeelding 3">
            <a:extLst>
              <a:ext uri="{FF2B5EF4-FFF2-40B4-BE49-F238E27FC236}">
                <a16:creationId xmlns="" xmlns:a16="http://schemas.microsoft.com/office/drawing/2014/main" id="{DC0C4F38-5301-4D9E-903B-A2102830D436}"/>
              </a:ext>
            </a:extLst>
          </p:cNvPr>
          <p:cNvPicPr>
            <a:picLocks noChangeAspect="1"/>
          </p:cNvPicPr>
          <p:nvPr userDrawn="1"/>
        </p:nvPicPr>
        <p:blipFill>
          <a:blip r:embed="rId9"/>
          <a:stretch>
            <a:fillRect/>
          </a:stretch>
        </p:blipFill>
        <p:spPr>
          <a:xfrm>
            <a:off x="10803706" y="6262744"/>
            <a:ext cx="858888" cy="465458"/>
          </a:xfrm>
          <a:prstGeom prst="rect">
            <a:avLst/>
          </a:prstGeom>
        </p:spPr>
      </p:pic>
    </p:spTree>
    <p:extLst>
      <p:ext uri="{BB962C8B-B14F-4D97-AF65-F5344CB8AC3E}">
        <p14:creationId xmlns:p14="http://schemas.microsoft.com/office/powerpoint/2010/main" val="19725205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ekst en afbeelding - wi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27ADFAA9-ECB1-4F06-831C-CA2DE0509AB4}"/>
              </a:ext>
            </a:extLst>
          </p:cNvPr>
          <p:cNvGraphicFramePr>
            <a:graphicFrameLocks noChangeAspect="1"/>
          </p:cNvGraphicFramePr>
          <p:nvPr userDrawn="1">
            <p:custDataLst>
              <p:tags r:id="rId2"/>
            </p:custDataLst>
            <p:extLst>
              <p:ext uri="{D42A27DB-BD31-4B8C-83A1-F6EECF244321}">
                <p14:modId xmlns:p14="http://schemas.microsoft.com/office/powerpoint/2010/main" val="3774062654"/>
              </p:ext>
            </p:extLst>
          </p:nvPr>
        </p:nvGraphicFramePr>
        <p:xfrm>
          <a:off x="2118" y="1589"/>
          <a:ext cx="2117" cy="1588"/>
        </p:xfrm>
        <a:graphic>
          <a:graphicData uri="http://schemas.openxmlformats.org/presentationml/2006/ole">
            <mc:AlternateContent xmlns:mc="http://schemas.openxmlformats.org/markup-compatibility/2006">
              <mc:Choice xmlns:v="urn:schemas-microsoft-com:vml" Requires="v">
                <p:oleObj spid="_x0000_s14422" name="think-cell Slide" r:id="rId5" imgW="338" imgH="337" progId="TCLayout.ActiveDocument.1">
                  <p:embed/>
                </p:oleObj>
              </mc:Choice>
              <mc:Fallback>
                <p:oleObj name="think-cell Slide" r:id="rId5" imgW="338" imgH="337" progId="TCLayout.ActiveDocument.1">
                  <p:embed/>
                  <p:pic>
                    <p:nvPicPr>
                      <p:cNvPr id="8" name="Object 7" hidden="1">
                        <a:extLst>
                          <a:ext uri="{FF2B5EF4-FFF2-40B4-BE49-F238E27FC236}">
                            <a16:creationId xmlns="" xmlns:a16="http://schemas.microsoft.com/office/drawing/2014/main" id="{27ADFAA9-ECB1-4F06-831C-CA2DE0509AB4}"/>
                          </a:ext>
                        </a:extLst>
                      </p:cNvPr>
                      <p:cNvPicPr/>
                      <p:nvPr/>
                    </p:nvPicPr>
                    <p:blipFill>
                      <a:blip r:embed="rId6"/>
                      <a:stretch>
                        <a:fillRect/>
                      </a:stretch>
                    </p:blipFill>
                    <p:spPr>
                      <a:xfrm>
                        <a:off x="2118" y="1589"/>
                        <a:ext cx="2117" cy="1588"/>
                      </a:xfrm>
                      <a:prstGeom prst="rect">
                        <a:avLst/>
                      </a:prstGeom>
                    </p:spPr>
                  </p:pic>
                </p:oleObj>
              </mc:Fallback>
            </mc:AlternateContent>
          </a:graphicData>
        </a:graphic>
      </p:graphicFrame>
      <p:sp>
        <p:nvSpPr>
          <p:cNvPr id="7" name="Rechthoek 6" hidden="1">
            <a:extLst>
              <a:ext uri="{FF2B5EF4-FFF2-40B4-BE49-F238E27FC236}">
                <a16:creationId xmlns="" xmlns:a16="http://schemas.microsoft.com/office/drawing/2014/main" id="{D6F2EB19-04BC-4A39-BE78-2675134960EA}"/>
              </a:ext>
            </a:extLst>
          </p:cNvPr>
          <p:cNvSpPr/>
          <p:nvPr userDrawn="1">
            <p:custDataLst>
              <p:tags r:id="rId3"/>
            </p:custDataLst>
          </p:nvPr>
        </p:nvSpPr>
        <p:spPr>
          <a:xfrm>
            <a:off x="0" y="1"/>
            <a:ext cx="211667"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nl-NL" sz="3600" b="1"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hasCustomPrompt="1"/>
          </p:nvPr>
        </p:nvSpPr>
        <p:spPr>
          <a:xfrm>
            <a:off x="958848" y="892177"/>
            <a:ext cx="6432551" cy="498598"/>
          </a:xfrm>
        </p:spPr>
        <p:txBody>
          <a:bodyPr/>
          <a:lstStyle>
            <a:lvl1pPr>
              <a:defRPr/>
            </a:lvl1pPr>
          </a:lstStyle>
          <a:p>
            <a:r>
              <a:rPr lang="nl-NL" dirty="0"/>
              <a:t>Titel</a:t>
            </a:r>
            <a:endParaRPr lang="en-US" dirty="0"/>
          </a:p>
        </p:txBody>
      </p:sp>
      <p:sp>
        <p:nvSpPr>
          <p:cNvPr id="6" name="Slide Number Placeholder 5"/>
          <p:cNvSpPr>
            <a:spLocks noGrp="1"/>
          </p:cNvSpPr>
          <p:nvPr>
            <p:ph type="sldNum" sz="quarter" idx="12"/>
          </p:nvPr>
        </p:nvSpPr>
        <p:spPr/>
        <p:txBody>
          <a:bodyPr/>
          <a:lstStyle/>
          <a:p>
            <a:fld id="{4D317D64-8544-4CC7-AF15-ED4E6224A2A5}" type="slidenum">
              <a:rPr lang="nl-NL" smtClean="0"/>
              <a:t>‹nr.›</a:t>
            </a:fld>
            <a:endParaRPr lang="nl-NL"/>
          </a:p>
        </p:txBody>
      </p:sp>
      <p:sp>
        <p:nvSpPr>
          <p:cNvPr id="10" name="Tijdelijke aanduiding voor inhoud 9">
            <a:extLst>
              <a:ext uri="{FF2B5EF4-FFF2-40B4-BE49-F238E27FC236}">
                <a16:creationId xmlns="" xmlns:a16="http://schemas.microsoft.com/office/drawing/2014/main" id="{67212A76-59E6-4F9A-9D4F-C5FAAA748DF9}"/>
              </a:ext>
            </a:extLst>
          </p:cNvPr>
          <p:cNvSpPr>
            <a:spLocks noGrp="1"/>
          </p:cNvSpPr>
          <p:nvPr>
            <p:ph sz="quarter" idx="13"/>
          </p:nvPr>
        </p:nvSpPr>
        <p:spPr>
          <a:xfrm>
            <a:off x="958848" y="2097088"/>
            <a:ext cx="6432551" cy="3636963"/>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9" name="Tijdelijke aanduiding voor afbeelding 20">
            <a:extLst>
              <a:ext uri="{FF2B5EF4-FFF2-40B4-BE49-F238E27FC236}">
                <a16:creationId xmlns="" xmlns:a16="http://schemas.microsoft.com/office/drawing/2014/main" id="{493DE9B0-52F8-4417-B129-97398109DAC7}"/>
              </a:ext>
            </a:extLst>
          </p:cNvPr>
          <p:cNvSpPr>
            <a:spLocks noGrp="1"/>
          </p:cNvSpPr>
          <p:nvPr>
            <p:ph type="pic" sz="quarter" idx="14" hasCustomPrompt="1"/>
          </p:nvPr>
        </p:nvSpPr>
        <p:spPr>
          <a:xfrm>
            <a:off x="7786480" y="2"/>
            <a:ext cx="4405520" cy="6073139"/>
          </a:xfrm>
          <a:custGeom>
            <a:avLst/>
            <a:gdLst>
              <a:gd name="connsiteX0" fmla="*/ 1910602 w 4405520"/>
              <a:gd name="connsiteY0" fmla="*/ 0 h 6073139"/>
              <a:gd name="connsiteX1" fmla="*/ 4405520 w 4405520"/>
              <a:gd name="connsiteY1" fmla="*/ 0 h 6073139"/>
              <a:gd name="connsiteX2" fmla="*/ 4405520 w 4405520"/>
              <a:gd name="connsiteY2" fmla="*/ 5720235 h 6073139"/>
              <a:gd name="connsiteX3" fmla="*/ 4033813 w 4405520"/>
              <a:gd name="connsiteY3" fmla="*/ 6073139 h 6073139"/>
              <a:gd name="connsiteX4" fmla="*/ 788250 w 4405520"/>
              <a:gd name="connsiteY4" fmla="*/ 5109884 h 6073139"/>
              <a:gd name="connsiteX5" fmla="*/ 0 w 4405520"/>
              <a:gd name="connsiteY5" fmla="*/ 1810805 h 6073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05520" h="6073139">
                <a:moveTo>
                  <a:pt x="1910602" y="0"/>
                </a:moveTo>
                <a:lnTo>
                  <a:pt x="4405520" y="0"/>
                </a:lnTo>
                <a:lnTo>
                  <a:pt x="4405520" y="5720235"/>
                </a:lnTo>
                <a:lnTo>
                  <a:pt x="4033813" y="6073139"/>
                </a:lnTo>
                <a:lnTo>
                  <a:pt x="788250" y="5109884"/>
                </a:lnTo>
                <a:lnTo>
                  <a:pt x="0" y="1810805"/>
                </a:lnTo>
                <a:close/>
              </a:path>
            </a:pathLst>
          </a:custGeom>
          <a:solidFill>
            <a:schemeClr val="bg2">
              <a:lumMod val="95000"/>
            </a:schemeClr>
          </a:solidFill>
        </p:spPr>
        <p:txBody>
          <a:bodyPr wrap="square" bIns="504000" anchor="ctr" anchorCtr="1">
            <a:noAutofit/>
          </a:bodyPr>
          <a:lstStyle>
            <a:lvl1pPr marL="0" indent="0" algn="ctr">
              <a:buFont typeface="Arial" panose="020B0604020202020204" pitchFamily="34" charset="0"/>
              <a:buNone/>
              <a:defRPr sz="1200" i="1">
                <a:solidFill>
                  <a:schemeClr val="tx1"/>
                </a:solidFill>
              </a:defRPr>
            </a:lvl1pPr>
          </a:lstStyle>
          <a:p>
            <a:r>
              <a:rPr lang="nl-NL" dirty="0"/>
              <a:t>Klik op het icoon om een afbeelding in te voegen</a:t>
            </a:r>
          </a:p>
        </p:txBody>
      </p:sp>
    </p:spTree>
    <p:extLst>
      <p:ext uri="{BB962C8B-B14F-4D97-AF65-F5344CB8AC3E}">
        <p14:creationId xmlns:p14="http://schemas.microsoft.com/office/powerpoint/2010/main" val="2446150370"/>
      </p:ext>
    </p:extLst>
  </p:cSld>
  <p:clrMapOvr>
    <a:masterClrMapping/>
  </p:clrMapOvr>
  <p:extLst mod="1">
    <p:ext uri="{DCECCB84-F9BA-43D5-87BE-67443E8EF086}">
      <p15:sldGuideLst xmlns:p15="http://schemas.microsoft.com/office/powerpoint/2012/main">
        <p15:guide id="1" pos="4656"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ekst en afbeelding - blauw">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27ADFAA9-ECB1-4F06-831C-CA2DE0509AB4}"/>
              </a:ext>
            </a:extLst>
          </p:cNvPr>
          <p:cNvGraphicFramePr>
            <a:graphicFrameLocks noChangeAspect="1"/>
          </p:cNvGraphicFramePr>
          <p:nvPr userDrawn="1">
            <p:custDataLst>
              <p:tags r:id="rId2"/>
            </p:custDataLst>
            <p:extLst>
              <p:ext uri="{D42A27DB-BD31-4B8C-83A1-F6EECF244321}">
                <p14:modId xmlns:p14="http://schemas.microsoft.com/office/powerpoint/2010/main" val="3424250669"/>
              </p:ext>
            </p:extLst>
          </p:nvPr>
        </p:nvGraphicFramePr>
        <p:xfrm>
          <a:off x="2118" y="1589"/>
          <a:ext cx="2117" cy="1588"/>
        </p:xfrm>
        <a:graphic>
          <a:graphicData uri="http://schemas.openxmlformats.org/presentationml/2006/ole">
            <mc:AlternateContent xmlns:mc="http://schemas.openxmlformats.org/markup-compatibility/2006">
              <mc:Choice xmlns:v="urn:schemas-microsoft-com:vml" Requires="v">
                <p:oleObj spid="_x0000_s15446" name="think-cell Slide" r:id="rId5" imgW="338" imgH="337" progId="TCLayout.ActiveDocument.1">
                  <p:embed/>
                </p:oleObj>
              </mc:Choice>
              <mc:Fallback>
                <p:oleObj name="think-cell Slide" r:id="rId5" imgW="338" imgH="337" progId="TCLayout.ActiveDocument.1">
                  <p:embed/>
                  <p:pic>
                    <p:nvPicPr>
                      <p:cNvPr id="8" name="Object 7" hidden="1">
                        <a:extLst>
                          <a:ext uri="{FF2B5EF4-FFF2-40B4-BE49-F238E27FC236}">
                            <a16:creationId xmlns="" xmlns:a16="http://schemas.microsoft.com/office/drawing/2014/main" id="{27ADFAA9-ECB1-4F06-831C-CA2DE0509AB4}"/>
                          </a:ext>
                        </a:extLst>
                      </p:cNvPr>
                      <p:cNvPicPr/>
                      <p:nvPr/>
                    </p:nvPicPr>
                    <p:blipFill>
                      <a:blip r:embed="rId6"/>
                      <a:stretch>
                        <a:fillRect/>
                      </a:stretch>
                    </p:blipFill>
                    <p:spPr>
                      <a:xfrm>
                        <a:off x="2118" y="1589"/>
                        <a:ext cx="2117" cy="1588"/>
                      </a:xfrm>
                      <a:prstGeom prst="rect">
                        <a:avLst/>
                      </a:prstGeom>
                    </p:spPr>
                  </p:pic>
                </p:oleObj>
              </mc:Fallback>
            </mc:AlternateContent>
          </a:graphicData>
        </a:graphic>
      </p:graphicFrame>
      <p:sp>
        <p:nvSpPr>
          <p:cNvPr id="7" name="Rechthoek 6" hidden="1">
            <a:extLst>
              <a:ext uri="{FF2B5EF4-FFF2-40B4-BE49-F238E27FC236}">
                <a16:creationId xmlns="" xmlns:a16="http://schemas.microsoft.com/office/drawing/2014/main" id="{D6F2EB19-04BC-4A39-BE78-2675134960EA}"/>
              </a:ext>
            </a:extLst>
          </p:cNvPr>
          <p:cNvSpPr/>
          <p:nvPr userDrawn="1">
            <p:custDataLst>
              <p:tags r:id="rId3"/>
            </p:custDataLst>
          </p:nvPr>
        </p:nvSpPr>
        <p:spPr>
          <a:xfrm>
            <a:off x="0" y="1"/>
            <a:ext cx="211667"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nl-NL" sz="3600" b="1" i="0" baseline="0" dirty="0">
              <a:latin typeface="Calibri" panose="020F0502020204030204" pitchFamily="34" charset="0"/>
              <a:ea typeface="+mj-ea"/>
              <a:cs typeface="+mj-cs"/>
              <a:sym typeface="Calibri" panose="020F0502020204030204" pitchFamily="34" charset="0"/>
            </a:endParaRPr>
          </a:p>
        </p:txBody>
      </p:sp>
      <p:sp>
        <p:nvSpPr>
          <p:cNvPr id="14" name="Vrije vorm: vorm 13">
            <a:extLst>
              <a:ext uri="{FF2B5EF4-FFF2-40B4-BE49-F238E27FC236}">
                <a16:creationId xmlns="" xmlns:a16="http://schemas.microsoft.com/office/drawing/2014/main" id="{3202B6F3-524F-4E14-963C-796A34931AA4}"/>
              </a:ext>
            </a:extLst>
          </p:cNvPr>
          <p:cNvSpPr>
            <a:spLocks/>
          </p:cNvSpPr>
          <p:nvPr userDrawn="1"/>
        </p:nvSpPr>
        <p:spPr bwMode="auto">
          <a:xfrm>
            <a:off x="-3176" y="5838996"/>
            <a:ext cx="12196800" cy="1019004"/>
          </a:xfrm>
          <a:custGeom>
            <a:avLst/>
            <a:gdLst>
              <a:gd name="connsiteX0" fmla="*/ 531572 w 12196800"/>
              <a:gd name="connsiteY0" fmla="*/ 684 h 1019004"/>
              <a:gd name="connsiteX1" fmla="*/ 597522 w 12196800"/>
              <a:gd name="connsiteY1" fmla="*/ 9767 h 1019004"/>
              <a:gd name="connsiteX2" fmla="*/ 600701 w 12196800"/>
              <a:gd name="connsiteY2" fmla="*/ 9767 h 1019004"/>
              <a:gd name="connsiteX3" fmla="*/ 937601 w 12196800"/>
              <a:gd name="connsiteY3" fmla="*/ 426961 h 1019004"/>
              <a:gd name="connsiteX4" fmla="*/ 937601 w 12196800"/>
              <a:gd name="connsiteY4" fmla="*/ 462262 h 1019004"/>
              <a:gd name="connsiteX5" fmla="*/ 947136 w 12196800"/>
              <a:gd name="connsiteY5" fmla="*/ 497564 h 1019004"/>
              <a:gd name="connsiteX6" fmla="*/ 1093338 w 12196800"/>
              <a:gd name="connsiteY6" fmla="*/ 548911 h 1019004"/>
              <a:gd name="connsiteX7" fmla="*/ 1134656 w 12196800"/>
              <a:gd name="connsiteY7" fmla="*/ 516819 h 1019004"/>
              <a:gd name="connsiteX8" fmla="*/ 1150548 w 12196800"/>
              <a:gd name="connsiteY8" fmla="*/ 487936 h 1019004"/>
              <a:gd name="connsiteX9" fmla="*/ 1525588 w 12196800"/>
              <a:gd name="connsiteY9" fmla="*/ 276129 h 1019004"/>
              <a:gd name="connsiteX10" fmla="*/ 5615335 w 12196800"/>
              <a:gd name="connsiteY10" fmla="*/ 276129 h 1019004"/>
              <a:gd name="connsiteX11" fmla="*/ 5840449 w 12196800"/>
              <a:gd name="connsiteY11" fmla="*/ 276129 h 1019004"/>
              <a:gd name="connsiteX12" fmla="*/ 5840449 w 12196800"/>
              <a:gd name="connsiteY12" fmla="*/ 276053 h 1019004"/>
              <a:gd name="connsiteX13" fmla="*/ 12195175 w 12196800"/>
              <a:gd name="connsiteY13" fmla="*/ 276053 h 1019004"/>
              <a:gd name="connsiteX14" fmla="*/ 12195175 w 12196800"/>
              <a:gd name="connsiteY14" fmla="*/ 866604 h 1019004"/>
              <a:gd name="connsiteX15" fmla="*/ 12196800 w 12196800"/>
              <a:gd name="connsiteY15" fmla="*/ 866604 h 1019004"/>
              <a:gd name="connsiteX16" fmla="*/ 12196800 w 12196800"/>
              <a:gd name="connsiteY16" fmla="*/ 1019004 h 1019004"/>
              <a:gd name="connsiteX17" fmla="*/ 12195175 w 12196800"/>
              <a:gd name="connsiteY17" fmla="*/ 1019004 h 1019004"/>
              <a:gd name="connsiteX18" fmla="*/ 0 w 12196800"/>
              <a:gd name="connsiteY18" fmla="*/ 1019004 h 1019004"/>
              <a:gd name="connsiteX19" fmla="*/ 0 w 12196800"/>
              <a:gd name="connsiteY19" fmla="*/ 1014243 h 1019004"/>
              <a:gd name="connsiteX20" fmla="*/ 0 w 12196800"/>
              <a:gd name="connsiteY20" fmla="*/ 866604 h 1019004"/>
              <a:gd name="connsiteX21" fmla="*/ 0 w 12196800"/>
              <a:gd name="connsiteY21" fmla="*/ 282548 h 1019004"/>
              <a:gd name="connsiteX22" fmla="*/ 31783 w 12196800"/>
              <a:gd name="connsiteY22" fmla="*/ 282548 h 1019004"/>
              <a:gd name="connsiteX23" fmla="*/ 88993 w 12196800"/>
              <a:gd name="connsiteY23" fmla="*/ 266502 h 1019004"/>
              <a:gd name="connsiteX24" fmla="*/ 130311 w 12196800"/>
              <a:gd name="connsiteY24" fmla="*/ 227992 h 1019004"/>
              <a:gd name="connsiteX25" fmla="*/ 136667 w 12196800"/>
              <a:gd name="connsiteY25" fmla="*/ 211946 h 1019004"/>
              <a:gd name="connsiteX26" fmla="*/ 531572 w 12196800"/>
              <a:gd name="connsiteY26" fmla="*/ 684 h 1019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196800" h="1019004">
                <a:moveTo>
                  <a:pt x="531572" y="684"/>
                </a:moveTo>
                <a:cubicBezTo>
                  <a:pt x="553622" y="1944"/>
                  <a:pt x="575671" y="4953"/>
                  <a:pt x="597522" y="9767"/>
                </a:cubicBezTo>
                <a:lnTo>
                  <a:pt x="600701" y="9767"/>
                </a:lnTo>
                <a:cubicBezTo>
                  <a:pt x="791399" y="51486"/>
                  <a:pt x="937601" y="224782"/>
                  <a:pt x="937601" y="426961"/>
                </a:cubicBezTo>
                <a:lnTo>
                  <a:pt x="937601" y="462262"/>
                </a:lnTo>
                <a:cubicBezTo>
                  <a:pt x="937601" y="471890"/>
                  <a:pt x="940780" y="484727"/>
                  <a:pt x="947136" y="497564"/>
                </a:cubicBezTo>
                <a:cubicBezTo>
                  <a:pt x="972563" y="552120"/>
                  <a:pt x="1039307" y="577793"/>
                  <a:pt x="1093338" y="548911"/>
                </a:cubicBezTo>
                <a:cubicBezTo>
                  <a:pt x="1109230" y="542492"/>
                  <a:pt x="1125121" y="529655"/>
                  <a:pt x="1134656" y="516819"/>
                </a:cubicBezTo>
                <a:lnTo>
                  <a:pt x="1150548" y="487936"/>
                </a:lnTo>
                <a:cubicBezTo>
                  <a:pt x="1230006" y="349941"/>
                  <a:pt x="1376208" y="276129"/>
                  <a:pt x="1525588" y="276129"/>
                </a:cubicBezTo>
                <a:lnTo>
                  <a:pt x="5615335" y="276129"/>
                </a:lnTo>
                <a:lnTo>
                  <a:pt x="5840449" y="276129"/>
                </a:lnTo>
                <a:lnTo>
                  <a:pt x="5840449" y="276053"/>
                </a:lnTo>
                <a:lnTo>
                  <a:pt x="12195175" y="276053"/>
                </a:lnTo>
                <a:lnTo>
                  <a:pt x="12195175" y="866604"/>
                </a:lnTo>
                <a:lnTo>
                  <a:pt x="12196800" y="866604"/>
                </a:lnTo>
                <a:lnTo>
                  <a:pt x="12196800" y="1019004"/>
                </a:lnTo>
                <a:lnTo>
                  <a:pt x="12195175" y="1019004"/>
                </a:lnTo>
                <a:lnTo>
                  <a:pt x="0" y="1019004"/>
                </a:lnTo>
                <a:lnTo>
                  <a:pt x="0" y="1014243"/>
                </a:lnTo>
                <a:lnTo>
                  <a:pt x="0" y="866604"/>
                </a:lnTo>
                <a:lnTo>
                  <a:pt x="0" y="282548"/>
                </a:lnTo>
                <a:lnTo>
                  <a:pt x="31783" y="282548"/>
                </a:lnTo>
                <a:cubicBezTo>
                  <a:pt x="50853" y="282548"/>
                  <a:pt x="69923" y="276129"/>
                  <a:pt x="88993" y="266502"/>
                </a:cubicBezTo>
                <a:cubicBezTo>
                  <a:pt x="104884" y="256874"/>
                  <a:pt x="120776" y="244037"/>
                  <a:pt x="130311" y="227992"/>
                </a:cubicBezTo>
                <a:lnTo>
                  <a:pt x="136667" y="211946"/>
                </a:lnTo>
                <a:cubicBezTo>
                  <a:pt x="222879" y="68735"/>
                  <a:pt x="377226" y="-8135"/>
                  <a:pt x="531572" y="684"/>
                </a:cubicBezTo>
                <a:close/>
              </a:path>
            </a:pathLst>
          </a:custGeom>
          <a:solidFill>
            <a:schemeClr val="bg1"/>
          </a:solidFill>
          <a:ln>
            <a:noFill/>
          </a:ln>
          <a:extLst/>
        </p:spPr>
        <p:txBody>
          <a:bodyPr vert="horz" wrap="square" lIns="91440" tIns="45720" rIns="91440" bIns="45720" numCol="1" anchor="t" anchorCtr="0" compatLnSpc="1">
            <a:prstTxWarp prst="textNoShape">
              <a:avLst/>
            </a:prstTxWarp>
            <a:noAutofit/>
          </a:bodyPr>
          <a:lstStyle/>
          <a:p>
            <a:endParaRPr lang="nl-NL" sz="1800"/>
          </a:p>
        </p:txBody>
      </p:sp>
      <p:pic>
        <p:nvPicPr>
          <p:cNvPr id="15" name="Afbeelding 14">
            <a:extLst>
              <a:ext uri="{FF2B5EF4-FFF2-40B4-BE49-F238E27FC236}">
                <a16:creationId xmlns="" xmlns:a16="http://schemas.microsoft.com/office/drawing/2014/main" id="{F338E188-4C88-4F28-9957-64B17662B7A1}"/>
              </a:ext>
            </a:extLst>
          </p:cNvPr>
          <p:cNvPicPr>
            <a:picLocks noChangeAspect="1"/>
          </p:cNvPicPr>
          <p:nvPr userDrawn="1"/>
        </p:nvPicPr>
        <p:blipFill>
          <a:blip r:embed="rId7"/>
          <a:stretch>
            <a:fillRect/>
          </a:stretch>
        </p:blipFill>
        <p:spPr>
          <a:xfrm>
            <a:off x="10803706" y="6262744"/>
            <a:ext cx="858888" cy="465458"/>
          </a:xfrm>
          <a:prstGeom prst="rect">
            <a:avLst/>
          </a:prstGeom>
        </p:spPr>
      </p:pic>
      <p:sp>
        <p:nvSpPr>
          <p:cNvPr id="2" name="Title 1"/>
          <p:cNvSpPr>
            <a:spLocks noGrp="1"/>
          </p:cNvSpPr>
          <p:nvPr>
            <p:ph type="title" hasCustomPrompt="1"/>
          </p:nvPr>
        </p:nvSpPr>
        <p:spPr>
          <a:xfrm>
            <a:off x="958850" y="892177"/>
            <a:ext cx="6432549" cy="498598"/>
          </a:xfrm>
        </p:spPr>
        <p:txBody>
          <a:bodyPr/>
          <a:lstStyle>
            <a:lvl1pPr>
              <a:defRPr>
                <a:solidFill>
                  <a:schemeClr val="bg1"/>
                </a:solidFill>
              </a:defRPr>
            </a:lvl1pPr>
          </a:lstStyle>
          <a:p>
            <a:r>
              <a:rPr lang="nl-NL" dirty="0"/>
              <a:t>Titel</a:t>
            </a:r>
            <a:endParaRPr lang="en-US" dirty="0"/>
          </a:p>
        </p:txBody>
      </p:sp>
      <p:sp>
        <p:nvSpPr>
          <p:cNvPr id="6" name="Slide Number Placeholder 5"/>
          <p:cNvSpPr>
            <a:spLocks noGrp="1"/>
          </p:cNvSpPr>
          <p:nvPr>
            <p:ph type="sldNum" sz="quarter" idx="12"/>
          </p:nvPr>
        </p:nvSpPr>
        <p:spPr/>
        <p:txBody>
          <a:bodyPr/>
          <a:lstStyle>
            <a:lvl1pPr>
              <a:defRPr>
                <a:solidFill>
                  <a:schemeClr val="accent1"/>
                </a:solidFill>
              </a:defRPr>
            </a:lvl1pPr>
          </a:lstStyle>
          <a:p>
            <a:fld id="{4D317D64-8544-4CC7-AF15-ED4E6224A2A5}" type="slidenum">
              <a:rPr lang="nl-NL" smtClean="0"/>
              <a:pPr/>
              <a:t>‹nr.›</a:t>
            </a:fld>
            <a:endParaRPr lang="nl-NL"/>
          </a:p>
        </p:txBody>
      </p:sp>
      <p:sp>
        <p:nvSpPr>
          <p:cNvPr id="10" name="Tijdelijke aanduiding voor inhoud 9">
            <a:extLst>
              <a:ext uri="{FF2B5EF4-FFF2-40B4-BE49-F238E27FC236}">
                <a16:creationId xmlns="" xmlns:a16="http://schemas.microsoft.com/office/drawing/2014/main" id="{67212A76-59E6-4F9A-9D4F-C5FAAA748DF9}"/>
              </a:ext>
            </a:extLst>
          </p:cNvPr>
          <p:cNvSpPr>
            <a:spLocks noGrp="1"/>
          </p:cNvSpPr>
          <p:nvPr>
            <p:ph sz="quarter" idx="13"/>
          </p:nvPr>
        </p:nvSpPr>
        <p:spPr>
          <a:xfrm>
            <a:off x="958850" y="2097088"/>
            <a:ext cx="6432549" cy="3636963"/>
          </a:xfrm>
        </p:spPr>
        <p:txBody>
          <a:bodyPr/>
          <a:lstStyle>
            <a:lvl1pPr marL="474121" indent="-474121">
              <a:buFontTx/>
              <a:buBlip>
                <a:blip r:embed="rId8"/>
              </a:buBlip>
              <a:defRPr>
                <a:solidFill>
                  <a:schemeClr val="bg1"/>
                </a:solidFill>
              </a:defRPr>
            </a:lvl1pPr>
            <a:lvl2pPr marL="711182" indent="-237061">
              <a:buFontTx/>
              <a:buBlip>
                <a:blip r:embed="rId9"/>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dirty="0"/>
          </a:p>
        </p:txBody>
      </p:sp>
      <p:sp>
        <p:nvSpPr>
          <p:cNvPr id="11" name="Tijdelijke aanduiding voor afbeelding 20">
            <a:extLst>
              <a:ext uri="{FF2B5EF4-FFF2-40B4-BE49-F238E27FC236}">
                <a16:creationId xmlns="" xmlns:a16="http://schemas.microsoft.com/office/drawing/2014/main" id="{830B117F-2253-4DC4-A6D1-0889DF8D0F28}"/>
              </a:ext>
            </a:extLst>
          </p:cNvPr>
          <p:cNvSpPr>
            <a:spLocks noGrp="1"/>
          </p:cNvSpPr>
          <p:nvPr>
            <p:ph type="pic" sz="quarter" idx="14" hasCustomPrompt="1"/>
          </p:nvPr>
        </p:nvSpPr>
        <p:spPr>
          <a:xfrm>
            <a:off x="7786480" y="2"/>
            <a:ext cx="4405520" cy="6073139"/>
          </a:xfrm>
          <a:custGeom>
            <a:avLst/>
            <a:gdLst>
              <a:gd name="connsiteX0" fmla="*/ 1910602 w 4405520"/>
              <a:gd name="connsiteY0" fmla="*/ 0 h 6073139"/>
              <a:gd name="connsiteX1" fmla="*/ 4405520 w 4405520"/>
              <a:gd name="connsiteY1" fmla="*/ 0 h 6073139"/>
              <a:gd name="connsiteX2" fmla="*/ 4405520 w 4405520"/>
              <a:gd name="connsiteY2" fmla="*/ 5720235 h 6073139"/>
              <a:gd name="connsiteX3" fmla="*/ 4033813 w 4405520"/>
              <a:gd name="connsiteY3" fmla="*/ 6073139 h 6073139"/>
              <a:gd name="connsiteX4" fmla="*/ 788250 w 4405520"/>
              <a:gd name="connsiteY4" fmla="*/ 5109884 h 6073139"/>
              <a:gd name="connsiteX5" fmla="*/ 0 w 4405520"/>
              <a:gd name="connsiteY5" fmla="*/ 1810805 h 6073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05520" h="6073139">
                <a:moveTo>
                  <a:pt x="1910602" y="0"/>
                </a:moveTo>
                <a:lnTo>
                  <a:pt x="4405520" y="0"/>
                </a:lnTo>
                <a:lnTo>
                  <a:pt x="4405520" y="5720235"/>
                </a:lnTo>
                <a:lnTo>
                  <a:pt x="4033813" y="6073139"/>
                </a:lnTo>
                <a:lnTo>
                  <a:pt x="788250" y="5109884"/>
                </a:lnTo>
                <a:lnTo>
                  <a:pt x="0" y="1810805"/>
                </a:lnTo>
                <a:close/>
              </a:path>
            </a:pathLst>
          </a:custGeom>
          <a:solidFill>
            <a:schemeClr val="bg2">
              <a:lumMod val="95000"/>
            </a:schemeClr>
          </a:solidFill>
        </p:spPr>
        <p:txBody>
          <a:bodyPr wrap="square" bIns="504000" anchor="ctr" anchorCtr="1">
            <a:noAutofit/>
          </a:bodyPr>
          <a:lstStyle>
            <a:lvl1pPr marL="0" indent="0" algn="ctr">
              <a:buFont typeface="Arial" panose="020B0604020202020204" pitchFamily="34" charset="0"/>
              <a:buNone/>
              <a:defRPr sz="1200" i="1">
                <a:solidFill>
                  <a:schemeClr val="tx1"/>
                </a:solidFill>
              </a:defRPr>
            </a:lvl1pPr>
          </a:lstStyle>
          <a:p>
            <a:r>
              <a:rPr lang="nl-NL" dirty="0"/>
              <a:t>Klik op het icoon om een afbeelding in te voegen</a:t>
            </a:r>
          </a:p>
        </p:txBody>
      </p:sp>
    </p:spTree>
    <p:extLst>
      <p:ext uri="{BB962C8B-B14F-4D97-AF65-F5344CB8AC3E}">
        <p14:creationId xmlns:p14="http://schemas.microsoft.com/office/powerpoint/2010/main" val="973211048"/>
      </p:ext>
    </p:extLst>
  </p:cSld>
  <p:clrMapOvr>
    <a:masterClrMapping/>
  </p:clrMapOvr>
  <p:extLst mod="1">
    <p:ext uri="{DCECCB84-F9BA-43D5-87BE-67443E8EF086}">
      <p15:sldGuideLst xmlns:p15="http://schemas.microsoft.com/office/powerpoint/2012/main">
        <p15:guide id="1" pos="4656"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Inhoud van twee - wi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 xmlns:a16="http://schemas.microsoft.com/office/drawing/2014/main" id="{89C50441-E6DD-4146-B6F4-960693980A26}"/>
              </a:ext>
            </a:extLst>
          </p:cNvPr>
          <p:cNvGraphicFramePr>
            <a:graphicFrameLocks noChangeAspect="1"/>
          </p:cNvGraphicFramePr>
          <p:nvPr userDrawn="1">
            <p:custDataLst>
              <p:tags r:id="rId2"/>
            </p:custDataLst>
            <p:extLst>
              <p:ext uri="{D42A27DB-BD31-4B8C-83A1-F6EECF244321}">
                <p14:modId xmlns:p14="http://schemas.microsoft.com/office/powerpoint/2010/main" val="1404313087"/>
              </p:ext>
            </p:extLst>
          </p:nvPr>
        </p:nvGraphicFramePr>
        <p:xfrm>
          <a:off x="2118" y="1589"/>
          <a:ext cx="2117" cy="1588"/>
        </p:xfrm>
        <a:graphic>
          <a:graphicData uri="http://schemas.openxmlformats.org/presentationml/2006/ole">
            <mc:AlternateContent xmlns:mc="http://schemas.openxmlformats.org/markup-compatibility/2006">
              <mc:Choice xmlns:v="urn:schemas-microsoft-com:vml" Requires="v">
                <p:oleObj spid="_x0000_s16470" name="think-cell Slide" r:id="rId5" imgW="338" imgH="337" progId="TCLayout.ActiveDocument.1">
                  <p:embed/>
                </p:oleObj>
              </mc:Choice>
              <mc:Fallback>
                <p:oleObj name="think-cell Slide" r:id="rId5" imgW="338" imgH="337" progId="TCLayout.ActiveDocument.1">
                  <p:embed/>
                  <p:pic>
                    <p:nvPicPr>
                      <p:cNvPr id="9" name="Object 8" hidden="1">
                        <a:extLst>
                          <a:ext uri="{FF2B5EF4-FFF2-40B4-BE49-F238E27FC236}">
                            <a16:creationId xmlns="" xmlns:a16="http://schemas.microsoft.com/office/drawing/2014/main" id="{89C50441-E6DD-4146-B6F4-960693980A26}"/>
                          </a:ext>
                        </a:extLst>
                      </p:cNvPr>
                      <p:cNvPicPr/>
                      <p:nvPr/>
                    </p:nvPicPr>
                    <p:blipFill>
                      <a:blip r:embed="rId6"/>
                      <a:stretch>
                        <a:fillRect/>
                      </a:stretch>
                    </p:blipFill>
                    <p:spPr>
                      <a:xfrm>
                        <a:off x="2118" y="1589"/>
                        <a:ext cx="2117" cy="1588"/>
                      </a:xfrm>
                      <a:prstGeom prst="rect">
                        <a:avLst/>
                      </a:prstGeom>
                    </p:spPr>
                  </p:pic>
                </p:oleObj>
              </mc:Fallback>
            </mc:AlternateContent>
          </a:graphicData>
        </a:graphic>
      </p:graphicFrame>
      <p:sp>
        <p:nvSpPr>
          <p:cNvPr id="8" name="Rechthoek 7" hidden="1">
            <a:extLst>
              <a:ext uri="{FF2B5EF4-FFF2-40B4-BE49-F238E27FC236}">
                <a16:creationId xmlns="" xmlns:a16="http://schemas.microsoft.com/office/drawing/2014/main" id="{CD766BAA-A723-4725-8DC9-D1C16CA38FF4}"/>
              </a:ext>
            </a:extLst>
          </p:cNvPr>
          <p:cNvSpPr/>
          <p:nvPr userDrawn="1">
            <p:custDataLst>
              <p:tags r:id="rId3"/>
            </p:custDataLst>
          </p:nvPr>
        </p:nvSpPr>
        <p:spPr>
          <a:xfrm>
            <a:off x="0" y="1"/>
            <a:ext cx="211667"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nl-NL" sz="3600" b="1"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nl-NL" smtClean="0"/>
              <a:t>Klik om de stijl te bewerken</a:t>
            </a:r>
            <a:endParaRPr lang="en-US" dirty="0"/>
          </a:p>
        </p:txBody>
      </p:sp>
      <p:sp>
        <p:nvSpPr>
          <p:cNvPr id="3" name="Content Placeholder 2"/>
          <p:cNvSpPr>
            <a:spLocks noGrp="1"/>
          </p:cNvSpPr>
          <p:nvPr>
            <p:ph sz="half" idx="1"/>
          </p:nvPr>
        </p:nvSpPr>
        <p:spPr>
          <a:xfrm>
            <a:off x="958851" y="2097088"/>
            <a:ext cx="4993216" cy="3636963"/>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dirty="0"/>
          </a:p>
        </p:txBody>
      </p:sp>
      <p:sp>
        <p:nvSpPr>
          <p:cNvPr id="7" name="Slide Number Placeholder 6"/>
          <p:cNvSpPr>
            <a:spLocks noGrp="1"/>
          </p:cNvSpPr>
          <p:nvPr>
            <p:ph type="sldNum" sz="quarter" idx="12"/>
          </p:nvPr>
        </p:nvSpPr>
        <p:spPr/>
        <p:txBody>
          <a:bodyPr/>
          <a:lstStyle/>
          <a:p>
            <a:fld id="{4D317D64-8544-4CC7-AF15-ED4E6224A2A5}" type="slidenum">
              <a:rPr lang="nl-NL" smtClean="0"/>
              <a:t>‹nr.›</a:t>
            </a:fld>
            <a:endParaRPr lang="nl-NL"/>
          </a:p>
        </p:txBody>
      </p:sp>
      <p:sp>
        <p:nvSpPr>
          <p:cNvPr id="10" name="Content Placeholder 2">
            <a:extLst>
              <a:ext uri="{FF2B5EF4-FFF2-40B4-BE49-F238E27FC236}">
                <a16:creationId xmlns="" xmlns:a16="http://schemas.microsoft.com/office/drawing/2014/main" id="{F20DA98B-674D-466A-ADE8-A0AB1A16CFC2}"/>
              </a:ext>
            </a:extLst>
          </p:cNvPr>
          <p:cNvSpPr>
            <a:spLocks noGrp="1"/>
          </p:cNvSpPr>
          <p:nvPr>
            <p:ph sz="half" idx="13"/>
          </p:nvPr>
        </p:nvSpPr>
        <p:spPr>
          <a:xfrm>
            <a:off x="6239935" y="2097088"/>
            <a:ext cx="4993216" cy="3636963"/>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dirty="0"/>
          </a:p>
        </p:txBody>
      </p:sp>
    </p:spTree>
    <p:extLst>
      <p:ext uri="{BB962C8B-B14F-4D97-AF65-F5344CB8AC3E}">
        <p14:creationId xmlns:p14="http://schemas.microsoft.com/office/powerpoint/2010/main" val="3022563140"/>
      </p:ext>
    </p:extLst>
  </p:cSld>
  <p:clrMapOvr>
    <a:masterClrMapping/>
  </p:clrMapOvr>
  <p:extLst mod="1">
    <p:ext uri="{DCECCB84-F9BA-43D5-87BE-67443E8EF086}">
      <p15:sldGuideLst xmlns:p15="http://schemas.microsoft.com/office/powerpoint/2012/main">
        <p15:guide id="1" pos="3749" userDrawn="1">
          <p15:clr>
            <a:srgbClr val="FBAE40"/>
          </p15:clr>
        </p15:guide>
        <p15:guide id="2" pos="3931"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Inhoud van twee - blauw">
    <p:spTree>
      <p:nvGrpSpPr>
        <p:cNvPr id="1" name=""/>
        <p:cNvGrpSpPr/>
        <p:nvPr/>
      </p:nvGrpSpPr>
      <p:grpSpPr>
        <a:xfrm>
          <a:off x="0" y="0"/>
          <a:ext cx="0" cy="0"/>
          <a:chOff x="0" y="0"/>
          <a:chExt cx="0" cy="0"/>
        </a:xfrm>
      </p:grpSpPr>
      <p:graphicFrame>
        <p:nvGraphicFramePr>
          <p:cNvPr id="9" name="Object 8" hidden="1">
            <a:extLst>
              <a:ext uri="{FF2B5EF4-FFF2-40B4-BE49-F238E27FC236}">
                <a16:creationId xmlns="" xmlns:a16="http://schemas.microsoft.com/office/drawing/2014/main" id="{89C50441-E6DD-4146-B6F4-960693980A26}"/>
              </a:ext>
            </a:extLst>
          </p:cNvPr>
          <p:cNvGraphicFramePr>
            <a:graphicFrameLocks noChangeAspect="1"/>
          </p:cNvGraphicFramePr>
          <p:nvPr userDrawn="1">
            <p:custDataLst>
              <p:tags r:id="rId2"/>
            </p:custDataLst>
            <p:extLst>
              <p:ext uri="{D42A27DB-BD31-4B8C-83A1-F6EECF244321}">
                <p14:modId xmlns:p14="http://schemas.microsoft.com/office/powerpoint/2010/main" val="2875549631"/>
              </p:ext>
            </p:extLst>
          </p:nvPr>
        </p:nvGraphicFramePr>
        <p:xfrm>
          <a:off x="2118" y="1589"/>
          <a:ext cx="2117" cy="1588"/>
        </p:xfrm>
        <a:graphic>
          <a:graphicData uri="http://schemas.openxmlformats.org/presentationml/2006/ole">
            <mc:AlternateContent xmlns:mc="http://schemas.openxmlformats.org/markup-compatibility/2006">
              <mc:Choice xmlns:v="urn:schemas-microsoft-com:vml" Requires="v">
                <p:oleObj spid="_x0000_s17494" name="think-cell Slide" r:id="rId5" imgW="338" imgH="337" progId="TCLayout.ActiveDocument.1">
                  <p:embed/>
                </p:oleObj>
              </mc:Choice>
              <mc:Fallback>
                <p:oleObj name="think-cell Slide" r:id="rId5" imgW="338" imgH="337" progId="TCLayout.ActiveDocument.1">
                  <p:embed/>
                  <p:pic>
                    <p:nvPicPr>
                      <p:cNvPr id="9" name="Object 8" hidden="1">
                        <a:extLst>
                          <a:ext uri="{FF2B5EF4-FFF2-40B4-BE49-F238E27FC236}">
                            <a16:creationId xmlns="" xmlns:a16="http://schemas.microsoft.com/office/drawing/2014/main" id="{89C50441-E6DD-4146-B6F4-960693980A26}"/>
                          </a:ext>
                        </a:extLst>
                      </p:cNvPr>
                      <p:cNvPicPr/>
                      <p:nvPr/>
                    </p:nvPicPr>
                    <p:blipFill>
                      <a:blip r:embed="rId6"/>
                      <a:stretch>
                        <a:fillRect/>
                      </a:stretch>
                    </p:blipFill>
                    <p:spPr>
                      <a:xfrm>
                        <a:off x="2118" y="1589"/>
                        <a:ext cx="2117" cy="1588"/>
                      </a:xfrm>
                      <a:prstGeom prst="rect">
                        <a:avLst/>
                      </a:prstGeom>
                    </p:spPr>
                  </p:pic>
                </p:oleObj>
              </mc:Fallback>
            </mc:AlternateContent>
          </a:graphicData>
        </a:graphic>
      </p:graphicFrame>
      <p:sp>
        <p:nvSpPr>
          <p:cNvPr id="8" name="Rechthoek 7" hidden="1">
            <a:extLst>
              <a:ext uri="{FF2B5EF4-FFF2-40B4-BE49-F238E27FC236}">
                <a16:creationId xmlns="" xmlns:a16="http://schemas.microsoft.com/office/drawing/2014/main" id="{CD766BAA-A723-4725-8DC9-D1C16CA38FF4}"/>
              </a:ext>
            </a:extLst>
          </p:cNvPr>
          <p:cNvSpPr/>
          <p:nvPr userDrawn="1">
            <p:custDataLst>
              <p:tags r:id="rId3"/>
            </p:custDataLst>
          </p:nvPr>
        </p:nvSpPr>
        <p:spPr>
          <a:xfrm>
            <a:off x="0" y="1"/>
            <a:ext cx="211667"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nl-NL" sz="3600" b="1" i="0" baseline="0" dirty="0">
              <a:latin typeface="Calibri" panose="020F0502020204030204" pitchFamily="34" charset="0"/>
              <a:ea typeface="+mj-ea"/>
              <a:cs typeface="+mj-cs"/>
              <a:sym typeface="Calibri" panose="020F0502020204030204" pitchFamily="34" charset="0"/>
            </a:endParaRPr>
          </a:p>
        </p:txBody>
      </p:sp>
      <p:sp>
        <p:nvSpPr>
          <p:cNvPr id="10" name="Vrije vorm: vorm 9">
            <a:extLst>
              <a:ext uri="{FF2B5EF4-FFF2-40B4-BE49-F238E27FC236}">
                <a16:creationId xmlns="" xmlns:a16="http://schemas.microsoft.com/office/drawing/2014/main" id="{458046EE-6570-4189-8F55-FFA5BFFDF897}"/>
              </a:ext>
            </a:extLst>
          </p:cNvPr>
          <p:cNvSpPr>
            <a:spLocks/>
          </p:cNvSpPr>
          <p:nvPr userDrawn="1"/>
        </p:nvSpPr>
        <p:spPr bwMode="auto">
          <a:xfrm>
            <a:off x="-3176" y="5838996"/>
            <a:ext cx="12196800" cy="1019004"/>
          </a:xfrm>
          <a:custGeom>
            <a:avLst/>
            <a:gdLst>
              <a:gd name="connsiteX0" fmla="*/ 531572 w 12196800"/>
              <a:gd name="connsiteY0" fmla="*/ 684 h 1019004"/>
              <a:gd name="connsiteX1" fmla="*/ 597522 w 12196800"/>
              <a:gd name="connsiteY1" fmla="*/ 9767 h 1019004"/>
              <a:gd name="connsiteX2" fmla="*/ 600701 w 12196800"/>
              <a:gd name="connsiteY2" fmla="*/ 9767 h 1019004"/>
              <a:gd name="connsiteX3" fmla="*/ 937601 w 12196800"/>
              <a:gd name="connsiteY3" fmla="*/ 426961 h 1019004"/>
              <a:gd name="connsiteX4" fmla="*/ 937601 w 12196800"/>
              <a:gd name="connsiteY4" fmla="*/ 462262 h 1019004"/>
              <a:gd name="connsiteX5" fmla="*/ 947136 w 12196800"/>
              <a:gd name="connsiteY5" fmla="*/ 497564 h 1019004"/>
              <a:gd name="connsiteX6" fmla="*/ 1093338 w 12196800"/>
              <a:gd name="connsiteY6" fmla="*/ 548911 h 1019004"/>
              <a:gd name="connsiteX7" fmla="*/ 1134656 w 12196800"/>
              <a:gd name="connsiteY7" fmla="*/ 516819 h 1019004"/>
              <a:gd name="connsiteX8" fmla="*/ 1150548 w 12196800"/>
              <a:gd name="connsiteY8" fmla="*/ 487936 h 1019004"/>
              <a:gd name="connsiteX9" fmla="*/ 1525588 w 12196800"/>
              <a:gd name="connsiteY9" fmla="*/ 276129 h 1019004"/>
              <a:gd name="connsiteX10" fmla="*/ 5615335 w 12196800"/>
              <a:gd name="connsiteY10" fmla="*/ 276129 h 1019004"/>
              <a:gd name="connsiteX11" fmla="*/ 5840449 w 12196800"/>
              <a:gd name="connsiteY11" fmla="*/ 276129 h 1019004"/>
              <a:gd name="connsiteX12" fmla="*/ 5840449 w 12196800"/>
              <a:gd name="connsiteY12" fmla="*/ 276053 h 1019004"/>
              <a:gd name="connsiteX13" fmla="*/ 12195175 w 12196800"/>
              <a:gd name="connsiteY13" fmla="*/ 276053 h 1019004"/>
              <a:gd name="connsiteX14" fmla="*/ 12195175 w 12196800"/>
              <a:gd name="connsiteY14" fmla="*/ 866604 h 1019004"/>
              <a:gd name="connsiteX15" fmla="*/ 12196800 w 12196800"/>
              <a:gd name="connsiteY15" fmla="*/ 866604 h 1019004"/>
              <a:gd name="connsiteX16" fmla="*/ 12196800 w 12196800"/>
              <a:gd name="connsiteY16" fmla="*/ 1019004 h 1019004"/>
              <a:gd name="connsiteX17" fmla="*/ 12195175 w 12196800"/>
              <a:gd name="connsiteY17" fmla="*/ 1019004 h 1019004"/>
              <a:gd name="connsiteX18" fmla="*/ 0 w 12196800"/>
              <a:gd name="connsiteY18" fmla="*/ 1019004 h 1019004"/>
              <a:gd name="connsiteX19" fmla="*/ 0 w 12196800"/>
              <a:gd name="connsiteY19" fmla="*/ 1014243 h 1019004"/>
              <a:gd name="connsiteX20" fmla="*/ 0 w 12196800"/>
              <a:gd name="connsiteY20" fmla="*/ 866604 h 1019004"/>
              <a:gd name="connsiteX21" fmla="*/ 0 w 12196800"/>
              <a:gd name="connsiteY21" fmla="*/ 282548 h 1019004"/>
              <a:gd name="connsiteX22" fmla="*/ 31783 w 12196800"/>
              <a:gd name="connsiteY22" fmla="*/ 282548 h 1019004"/>
              <a:gd name="connsiteX23" fmla="*/ 88993 w 12196800"/>
              <a:gd name="connsiteY23" fmla="*/ 266502 h 1019004"/>
              <a:gd name="connsiteX24" fmla="*/ 130311 w 12196800"/>
              <a:gd name="connsiteY24" fmla="*/ 227992 h 1019004"/>
              <a:gd name="connsiteX25" fmla="*/ 136667 w 12196800"/>
              <a:gd name="connsiteY25" fmla="*/ 211946 h 1019004"/>
              <a:gd name="connsiteX26" fmla="*/ 531572 w 12196800"/>
              <a:gd name="connsiteY26" fmla="*/ 684 h 1019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196800" h="1019004">
                <a:moveTo>
                  <a:pt x="531572" y="684"/>
                </a:moveTo>
                <a:cubicBezTo>
                  <a:pt x="553622" y="1944"/>
                  <a:pt x="575671" y="4953"/>
                  <a:pt x="597522" y="9767"/>
                </a:cubicBezTo>
                <a:lnTo>
                  <a:pt x="600701" y="9767"/>
                </a:lnTo>
                <a:cubicBezTo>
                  <a:pt x="791399" y="51486"/>
                  <a:pt x="937601" y="224782"/>
                  <a:pt x="937601" y="426961"/>
                </a:cubicBezTo>
                <a:lnTo>
                  <a:pt x="937601" y="462262"/>
                </a:lnTo>
                <a:cubicBezTo>
                  <a:pt x="937601" y="471890"/>
                  <a:pt x="940780" y="484727"/>
                  <a:pt x="947136" y="497564"/>
                </a:cubicBezTo>
                <a:cubicBezTo>
                  <a:pt x="972563" y="552120"/>
                  <a:pt x="1039307" y="577793"/>
                  <a:pt x="1093338" y="548911"/>
                </a:cubicBezTo>
                <a:cubicBezTo>
                  <a:pt x="1109230" y="542492"/>
                  <a:pt x="1125121" y="529655"/>
                  <a:pt x="1134656" y="516819"/>
                </a:cubicBezTo>
                <a:lnTo>
                  <a:pt x="1150548" y="487936"/>
                </a:lnTo>
                <a:cubicBezTo>
                  <a:pt x="1230006" y="349941"/>
                  <a:pt x="1376208" y="276129"/>
                  <a:pt x="1525588" y="276129"/>
                </a:cubicBezTo>
                <a:lnTo>
                  <a:pt x="5615335" y="276129"/>
                </a:lnTo>
                <a:lnTo>
                  <a:pt x="5840449" y="276129"/>
                </a:lnTo>
                <a:lnTo>
                  <a:pt x="5840449" y="276053"/>
                </a:lnTo>
                <a:lnTo>
                  <a:pt x="12195175" y="276053"/>
                </a:lnTo>
                <a:lnTo>
                  <a:pt x="12195175" y="866604"/>
                </a:lnTo>
                <a:lnTo>
                  <a:pt x="12196800" y="866604"/>
                </a:lnTo>
                <a:lnTo>
                  <a:pt x="12196800" y="1019004"/>
                </a:lnTo>
                <a:lnTo>
                  <a:pt x="12195175" y="1019004"/>
                </a:lnTo>
                <a:lnTo>
                  <a:pt x="0" y="1019004"/>
                </a:lnTo>
                <a:lnTo>
                  <a:pt x="0" y="1014243"/>
                </a:lnTo>
                <a:lnTo>
                  <a:pt x="0" y="866604"/>
                </a:lnTo>
                <a:lnTo>
                  <a:pt x="0" y="282548"/>
                </a:lnTo>
                <a:lnTo>
                  <a:pt x="31783" y="282548"/>
                </a:lnTo>
                <a:cubicBezTo>
                  <a:pt x="50853" y="282548"/>
                  <a:pt x="69923" y="276129"/>
                  <a:pt x="88993" y="266502"/>
                </a:cubicBezTo>
                <a:cubicBezTo>
                  <a:pt x="104884" y="256874"/>
                  <a:pt x="120776" y="244037"/>
                  <a:pt x="130311" y="227992"/>
                </a:cubicBezTo>
                <a:lnTo>
                  <a:pt x="136667" y="211946"/>
                </a:lnTo>
                <a:cubicBezTo>
                  <a:pt x="222879" y="68735"/>
                  <a:pt x="377226" y="-8135"/>
                  <a:pt x="531572" y="684"/>
                </a:cubicBezTo>
                <a:close/>
              </a:path>
            </a:pathLst>
          </a:custGeom>
          <a:solidFill>
            <a:schemeClr val="bg1"/>
          </a:solidFill>
          <a:ln>
            <a:noFill/>
          </a:ln>
          <a:extLst/>
        </p:spPr>
        <p:txBody>
          <a:bodyPr vert="horz" wrap="square" lIns="91440" tIns="45720" rIns="91440" bIns="45720" numCol="1" anchor="t" anchorCtr="0" compatLnSpc="1">
            <a:prstTxWarp prst="textNoShape">
              <a:avLst/>
            </a:prstTxWarp>
            <a:noAutofit/>
          </a:bodyPr>
          <a:lstStyle/>
          <a:p>
            <a:endParaRPr lang="nl-NL" sz="1800"/>
          </a:p>
        </p:txBody>
      </p:sp>
      <p:pic>
        <p:nvPicPr>
          <p:cNvPr id="15" name="Afbeelding 14">
            <a:extLst>
              <a:ext uri="{FF2B5EF4-FFF2-40B4-BE49-F238E27FC236}">
                <a16:creationId xmlns="" xmlns:a16="http://schemas.microsoft.com/office/drawing/2014/main" id="{1CA14E23-8164-4BEB-9EB6-9DF8A7128256}"/>
              </a:ext>
            </a:extLst>
          </p:cNvPr>
          <p:cNvPicPr>
            <a:picLocks noChangeAspect="1"/>
          </p:cNvPicPr>
          <p:nvPr userDrawn="1"/>
        </p:nvPicPr>
        <p:blipFill>
          <a:blip r:embed="rId7"/>
          <a:stretch>
            <a:fillRect/>
          </a:stretch>
        </p:blipFill>
        <p:spPr>
          <a:xfrm>
            <a:off x="10803706" y="6262744"/>
            <a:ext cx="858888" cy="465458"/>
          </a:xfrm>
          <a:prstGeom prst="rect">
            <a:avLst/>
          </a:prstGeom>
        </p:spPr>
      </p:pic>
      <p:sp>
        <p:nvSpPr>
          <p:cNvPr id="2" name="Title 1"/>
          <p:cNvSpPr>
            <a:spLocks noGrp="1"/>
          </p:cNvSpPr>
          <p:nvPr>
            <p:ph type="title"/>
          </p:nvPr>
        </p:nvSpPr>
        <p:spPr/>
        <p:txBody>
          <a:bodyPr/>
          <a:lstStyle>
            <a:lvl1pPr>
              <a:defRPr>
                <a:solidFill>
                  <a:schemeClr val="bg1"/>
                </a:solidFill>
              </a:defRPr>
            </a:lvl1pPr>
          </a:lstStyle>
          <a:p>
            <a:r>
              <a:rPr lang="nl-NL" smtClean="0"/>
              <a:t>Klik om de stijl te bewerken</a:t>
            </a:r>
            <a:endParaRPr lang="en-US" dirty="0"/>
          </a:p>
        </p:txBody>
      </p:sp>
      <p:sp>
        <p:nvSpPr>
          <p:cNvPr id="7" name="Slide Number Placeholder 6"/>
          <p:cNvSpPr>
            <a:spLocks noGrp="1"/>
          </p:cNvSpPr>
          <p:nvPr>
            <p:ph type="sldNum" sz="quarter" idx="12"/>
          </p:nvPr>
        </p:nvSpPr>
        <p:spPr/>
        <p:txBody>
          <a:bodyPr/>
          <a:lstStyle>
            <a:lvl1pPr>
              <a:defRPr>
                <a:solidFill>
                  <a:schemeClr val="accent1"/>
                </a:solidFill>
              </a:defRPr>
            </a:lvl1pPr>
          </a:lstStyle>
          <a:p>
            <a:fld id="{4D317D64-8544-4CC7-AF15-ED4E6224A2A5}" type="slidenum">
              <a:rPr lang="nl-NL" smtClean="0"/>
              <a:pPr/>
              <a:t>‹nr.›</a:t>
            </a:fld>
            <a:endParaRPr lang="nl-NL"/>
          </a:p>
        </p:txBody>
      </p:sp>
      <p:sp>
        <p:nvSpPr>
          <p:cNvPr id="13" name="Tijdelijke aanduiding voor inhoud 9">
            <a:extLst>
              <a:ext uri="{FF2B5EF4-FFF2-40B4-BE49-F238E27FC236}">
                <a16:creationId xmlns="" xmlns:a16="http://schemas.microsoft.com/office/drawing/2014/main" id="{2AACD25D-2EAB-439E-B2B2-D5927DE2D0F8}"/>
              </a:ext>
            </a:extLst>
          </p:cNvPr>
          <p:cNvSpPr>
            <a:spLocks noGrp="1"/>
          </p:cNvSpPr>
          <p:nvPr>
            <p:ph sz="quarter" idx="13"/>
          </p:nvPr>
        </p:nvSpPr>
        <p:spPr>
          <a:xfrm>
            <a:off x="958851" y="2097088"/>
            <a:ext cx="4992000" cy="3636963"/>
          </a:xfrm>
        </p:spPr>
        <p:txBody>
          <a:bodyPr/>
          <a:lstStyle>
            <a:lvl1pPr marL="474121" indent="-474121">
              <a:buFontTx/>
              <a:buBlip>
                <a:blip r:embed="rId8"/>
              </a:buBlip>
              <a:defRPr>
                <a:solidFill>
                  <a:schemeClr val="bg1"/>
                </a:solidFill>
              </a:defRPr>
            </a:lvl1pPr>
            <a:lvl2pPr marL="711182" indent="-237061">
              <a:buFontTx/>
              <a:buBlip>
                <a:blip r:embed="rId9"/>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dirty="0"/>
          </a:p>
        </p:txBody>
      </p:sp>
      <p:sp>
        <p:nvSpPr>
          <p:cNvPr id="14" name="Tijdelijke aanduiding voor inhoud 9">
            <a:extLst>
              <a:ext uri="{FF2B5EF4-FFF2-40B4-BE49-F238E27FC236}">
                <a16:creationId xmlns="" xmlns:a16="http://schemas.microsoft.com/office/drawing/2014/main" id="{C4864394-269C-4A2F-888D-C69078B0939E}"/>
              </a:ext>
            </a:extLst>
          </p:cNvPr>
          <p:cNvSpPr>
            <a:spLocks noGrp="1"/>
          </p:cNvSpPr>
          <p:nvPr>
            <p:ph sz="quarter" idx="14"/>
          </p:nvPr>
        </p:nvSpPr>
        <p:spPr>
          <a:xfrm>
            <a:off x="6241151" y="2097088"/>
            <a:ext cx="4992000" cy="3636963"/>
          </a:xfrm>
        </p:spPr>
        <p:txBody>
          <a:bodyPr/>
          <a:lstStyle>
            <a:lvl1pPr marL="474121" indent="-474121">
              <a:buFontTx/>
              <a:buBlip>
                <a:blip r:embed="rId8"/>
              </a:buBlip>
              <a:defRPr>
                <a:solidFill>
                  <a:schemeClr val="bg1"/>
                </a:solidFill>
              </a:defRPr>
            </a:lvl1pPr>
            <a:lvl2pPr marL="711182" indent="-237061">
              <a:buFontTx/>
              <a:buBlip>
                <a:blip r:embed="rId9"/>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dirty="0"/>
          </a:p>
        </p:txBody>
      </p:sp>
    </p:spTree>
    <p:extLst>
      <p:ext uri="{BB962C8B-B14F-4D97-AF65-F5344CB8AC3E}">
        <p14:creationId xmlns:p14="http://schemas.microsoft.com/office/powerpoint/2010/main" val="4176514292"/>
      </p:ext>
    </p:extLst>
  </p:cSld>
  <p:clrMapOvr>
    <a:masterClrMapping/>
  </p:clrMapOvr>
  <p:extLst mod="1">
    <p:ext uri="{DCECCB84-F9BA-43D5-87BE-67443E8EF086}">
      <p15:sldGuideLst xmlns:p15="http://schemas.microsoft.com/office/powerpoint/2012/main">
        <p15:guide id="1" pos="3749" userDrawn="1">
          <p15:clr>
            <a:srgbClr val="FBAE40"/>
          </p15:clr>
        </p15:guide>
        <p15:guide id="2" pos="3931"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Logo vorm met afbeeldingen">
    <p:spTree>
      <p:nvGrpSpPr>
        <p:cNvPr id="1" name=""/>
        <p:cNvGrpSpPr/>
        <p:nvPr/>
      </p:nvGrpSpPr>
      <p:grpSpPr>
        <a:xfrm>
          <a:off x="0" y="0"/>
          <a:ext cx="0" cy="0"/>
          <a:chOff x="0" y="0"/>
          <a:chExt cx="0" cy="0"/>
        </a:xfrm>
      </p:grpSpPr>
      <p:graphicFrame>
        <p:nvGraphicFramePr>
          <p:cNvPr id="7" name="Object 6" hidden="1">
            <a:extLst>
              <a:ext uri="{FF2B5EF4-FFF2-40B4-BE49-F238E27FC236}">
                <a16:creationId xmlns="" xmlns:a16="http://schemas.microsoft.com/office/drawing/2014/main" id="{0A27CFD0-E57E-40F9-BE1F-0E3D7DDEF690}"/>
              </a:ext>
            </a:extLst>
          </p:cNvPr>
          <p:cNvGraphicFramePr>
            <a:graphicFrameLocks noChangeAspect="1"/>
          </p:cNvGraphicFramePr>
          <p:nvPr userDrawn="1">
            <p:custDataLst>
              <p:tags r:id="rId2"/>
            </p:custDataLst>
            <p:extLst>
              <p:ext uri="{D42A27DB-BD31-4B8C-83A1-F6EECF244321}">
                <p14:modId xmlns:p14="http://schemas.microsoft.com/office/powerpoint/2010/main" val="3121785595"/>
              </p:ext>
            </p:extLst>
          </p:nvPr>
        </p:nvGraphicFramePr>
        <p:xfrm>
          <a:off x="2118" y="1589"/>
          <a:ext cx="2117" cy="1588"/>
        </p:xfrm>
        <a:graphic>
          <a:graphicData uri="http://schemas.openxmlformats.org/presentationml/2006/ole">
            <mc:AlternateContent xmlns:mc="http://schemas.openxmlformats.org/markup-compatibility/2006">
              <mc:Choice xmlns:v="urn:schemas-microsoft-com:vml" Requires="v">
                <p:oleObj spid="_x0000_s18540" name="think-cell Slide" r:id="rId5" imgW="338" imgH="337" progId="TCLayout.ActiveDocument.1">
                  <p:embed/>
                </p:oleObj>
              </mc:Choice>
              <mc:Fallback>
                <p:oleObj name="think-cell Slide" r:id="rId5" imgW="338" imgH="337" progId="TCLayout.ActiveDocument.1">
                  <p:embed/>
                  <p:pic>
                    <p:nvPicPr>
                      <p:cNvPr id="7" name="Object 6" hidden="1">
                        <a:extLst>
                          <a:ext uri="{FF2B5EF4-FFF2-40B4-BE49-F238E27FC236}">
                            <a16:creationId xmlns="" xmlns:a16="http://schemas.microsoft.com/office/drawing/2014/main" id="{0A27CFD0-E57E-40F9-BE1F-0E3D7DDEF690}"/>
                          </a:ext>
                        </a:extLst>
                      </p:cNvPr>
                      <p:cNvPicPr/>
                      <p:nvPr/>
                    </p:nvPicPr>
                    <p:blipFill>
                      <a:blip r:embed="rId6"/>
                      <a:stretch>
                        <a:fillRect/>
                      </a:stretch>
                    </p:blipFill>
                    <p:spPr>
                      <a:xfrm>
                        <a:off x="2118" y="1589"/>
                        <a:ext cx="2117" cy="1588"/>
                      </a:xfrm>
                      <a:prstGeom prst="rect">
                        <a:avLst/>
                      </a:prstGeom>
                    </p:spPr>
                  </p:pic>
                </p:oleObj>
              </mc:Fallback>
            </mc:AlternateContent>
          </a:graphicData>
        </a:graphic>
      </p:graphicFrame>
      <p:sp>
        <p:nvSpPr>
          <p:cNvPr id="6" name="Rechthoek 5" hidden="1">
            <a:extLst>
              <a:ext uri="{FF2B5EF4-FFF2-40B4-BE49-F238E27FC236}">
                <a16:creationId xmlns="" xmlns:a16="http://schemas.microsoft.com/office/drawing/2014/main" id="{C4805D77-1012-42AE-905C-1828F5FA549F}"/>
              </a:ext>
            </a:extLst>
          </p:cNvPr>
          <p:cNvSpPr/>
          <p:nvPr userDrawn="1">
            <p:custDataLst>
              <p:tags r:id="rId3"/>
            </p:custDataLst>
          </p:nvPr>
        </p:nvSpPr>
        <p:spPr>
          <a:xfrm>
            <a:off x="0" y="1"/>
            <a:ext cx="211667"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nl-NL" sz="4267" b="1" i="0" baseline="0" dirty="0">
              <a:latin typeface="Calibri" panose="020F0502020204030204" pitchFamily="34" charset="0"/>
              <a:ea typeface="+mj-ea"/>
              <a:cs typeface="+mj-cs"/>
              <a:sym typeface="Calibri" panose="020F0502020204030204" pitchFamily="34" charset="0"/>
            </a:endParaRPr>
          </a:p>
        </p:txBody>
      </p:sp>
      <p:sp>
        <p:nvSpPr>
          <p:cNvPr id="5" name="Slide Number Placeholder 4"/>
          <p:cNvSpPr>
            <a:spLocks noGrp="1"/>
          </p:cNvSpPr>
          <p:nvPr>
            <p:ph type="sldNum" sz="quarter" idx="12"/>
          </p:nvPr>
        </p:nvSpPr>
        <p:spPr/>
        <p:txBody>
          <a:bodyPr/>
          <a:lstStyle/>
          <a:p>
            <a:fld id="{4D317D64-8544-4CC7-AF15-ED4E6224A2A5}" type="slidenum">
              <a:rPr lang="nl-NL" smtClean="0"/>
              <a:t>‹nr.›</a:t>
            </a:fld>
            <a:endParaRPr lang="nl-NL"/>
          </a:p>
        </p:txBody>
      </p:sp>
      <p:sp>
        <p:nvSpPr>
          <p:cNvPr id="4" name="Tijdelijke aanduiding voor tekst 3">
            <a:extLst>
              <a:ext uri="{FF2B5EF4-FFF2-40B4-BE49-F238E27FC236}">
                <a16:creationId xmlns="" xmlns:a16="http://schemas.microsoft.com/office/drawing/2014/main" id="{4129E023-AE8D-45B5-A705-2E5DE5CDD71B}"/>
              </a:ext>
            </a:extLst>
          </p:cNvPr>
          <p:cNvSpPr>
            <a:spLocks noGrp="1"/>
          </p:cNvSpPr>
          <p:nvPr>
            <p:ph type="body" sz="quarter" idx="13" hasCustomPrompt="1"/>
          </p:nvPr>
        </p:nvSpPr>
        <p:spPr>
          <a:xfrm>
            <a:off x="958853" y="327058"/>
            <a:ext cx="10274300" cy="413617"/>
          </a:xfrm>
        </p:spPr>
        <p:txBody>
          <a:bodyPr>
            <a:spAutoFit/>
          </a:bodyPr>
          <a:lstStyle>
            <a:lvl1pPr marL="0" indent="0">
              <a:buNone/>
              <a:defRPr sz="2400"/>
            </a:lvl1pPr>
          </a:lstStyle>
          <a:p>
            <a:pPr lvl="0"/>
            <a:r>
              <a:rPr lang="nl-NL" dirty="0"/>
              <a:t>Subtitel</a:t>
            </a:r>
          </a:p>
        </p:txBody>
      </p:sp>
      <p:grpSp>
        <p:nvGrpSpPr>
          <p:cNvPr id="36" name="Groep 35">
            <a:extLst>
              <a:ext uri="{FF2B5EF4-FFF2-40B4-BE49-F238E27FC236}">
                <a16:creationId xmlns="" xmlns:a16="http://schemas.microsoft.com/office/drawing/2014/main" id="{5A2AB954-3792-4FFE-946B-670F9B54C7CC}"/>
              </a:ext>
            </a:extLst>
          </p:cNvPr>
          <p:cNvGrpSpPr>
            <a:grpSpLocks noChangeAspect="1"/>
          </p:cNvGrpSpPr>
          <p:nvPr userDrawn="1"/>
        </p:nvGrpSpPr>
        <p:grpSpPr>
          <a:xfrm>
            <a:off x="3807513" y="3375944"/>
            <a:ext cx="481275" cy="482400"/>
            <a:chOff x="2728" y="3646786"/>
            <a:chExt cx="2038350" cy="2043113"/>
          </a:xfrm>
        </p:grpSpPr>
        <p:sp>
          <p:nvSpPr>
            <p:cNvPr id="37" name="Freeform 36">
              <a:extLst>
                <a:ext uri="{FF2B5EF4-FFF2-40B4-BE49-F238E27FC236}">
                  <a16:creationId xmlns="" xmlns:a16="http://schemas.microsoft.com/office/drawing/2014/main" id="{566AA075-CD11-47B9-8559-A3E46E855874}"/>
                </a:ext>
              </a:extLst>
            </p:cNvPr>
            <p:cNvSpPr>
              <a:spLocks/>
            </p:cNvSpPr>
            <p:nvPr userDrawn="1"/>
          </p:nvSpPr>
          <p:spPr bwMode="auto">
            <a:xfrm>
              <a:off x="2728" y="3646786"/>
              <a:ext cx="2038350" cy="2043113"/>
            </a:xfrm>
            <a:custGeom>
              <a:avLst/>
              <a:gdLst>
                <a:gd name="T0" fmla="*/ 1284 w 1284"/>
                <a:gd name="T1" fmla="*/ 816 h 1287"/>
                <a:gd name="T2" fmla="*/ 815 w 1284"/>
                <a:gd name="T3" fmla="*/ 1287 h 1287"/>
                <a:gd name="T4" fmla="*/ 172 w 1284"/>
                <a:gd name="T5" fmla="*/ 1115 h 1287"/>
                <a:gd name="T6" fmla="*/ 0 w 1284"/>
                <a:gd name="T7" fmla="*/ 471 h 1287"/>
                <a:gd name="T8" fmla="*/ 472 w 1284"/>
                <a:gd name="T9" fmla="*/ 0 h 1287"/>
                <a:gd name="T10" fmla="*/ 1113 w 1284"/>
                <a:gd name="T11" fmla="*/ 174 h 1287"/>
                <a:gd name="T12" fmla="*/ 1284 w 1284"/>
                <a:gd name="T13" fmla="*/ 816 h 1287"/>
              </a:gdLst>
              <a:ahLst/>
              <a:cxnLst>
                <a:cxn ang="0">
                  <a:pos x="T0" y="T1"/>
                </a:cxn>
                <a:cxn ang="0">
                  <a:pos x="T2" y="T3"/>
                </a:cxn>
                <a:cxn ang="0">
                  <a:pos x="T4" y="T5"/>
                </a:cxn>
                <a:cxn ang="0">
                  <a:pos x="T6" y="T7"/>
                </a:cxn>
                <a:cxn ang="0">
                  <a:pos x="T8" y="T9"/>
                </a:cxn>
                <a:cxn ang="0">
                  <a:pos x="T10" y="T11"/>
                </a:cxn>
                <a:cxn ang="0">
                  <a:pos x="T12" y="T13"/>
                </a:cxn>
              </a:cxnLst>
              <a:rect l="0" t="0" r="r" b="b"/>
              <a:pathLst>
                <a:path w="1284" h="1287">
                  <a:moveTo>
                    <a:pt x="1284" y="816"/>
                  </a:moveTo>
                  <a:lnTo>
                    <a:pt x="815" y="1287"/>
                  </a:lnTo>
                  <a:lnTo>
                    <a:pt x="172" y="1115"/>
                  </a:lnTo>
                  <a:lnTo>
                    <a:pt x="0" y="471"/>
                  </a:lnTo>
                  <a:lnTo>
                    <a:pt x="472" y="0"/>
                  </a:lnTo>
                  <a:lnTo>
                    <a:pt x="1113" y="174"/>
                  </a:lnTo>
                  <a:lnTo>
                    <a:pt x="1284" y="816"/>
                  </a:lnTo>
                  <a:close/>
                </a:path>
              </a:pathLst>
            </a:custGeom>
            <a:solidFill>
              <a:srgbClr val="006D68"/>
            </a:solidFill>
            <a:ln>
              <a:noFill/>
            </a:ln>
          </p:spPr>
          <p:txBody>
            <a:bodyPr vert="horz" wrap="square" lIns="91440" tIns="45720" rIns="91440" bIns="45720" numCol="1" anchor="t" anchorCtr="0" compatLnSpc="1">
              <a:prstTxWarp prst="textNoShape">
                <a:avLst/>
              </a:prstTxWarp>
            </a:bodyPr>
            <a:lstStyle/>
            <a:p>
              <a:endParaRPr lang="nl-NL"/>
            </a:p>
          </p:txBody>
        </p:sp>
        <p:sp>
          <p:nvSpPr>
            <p:cNvPr id="38" name="Freeform 49">
              <a:extLst>
                <a:ext uri="{FF2B5EF4-FFF2-40B4-BE49-F238E27FC236}">
                  <a16:creationId xmlns="" xmlns:a16="http://schemas.microsoft.com/office/drawing/2014/main" id="{FB70FFB8-5E58-488D-8F1A-08C43ED02C1F}"/>
                </a:ext>
              </a:extLst>
            </p:cNvPr>
            <p:cNvSpPr>
              <a:spLocks/>
            </p:cNvSpPr>
            <p:nvPr userDrawn="1"/>
          </p:nvSpPr>
          <p:spPr bwMode="auto">
            <a:xfrm flipH="1">
              <a:off x="774025" y="4257170"/>
              <a:ext cx="433154" cy="838202"/>
            </a:xfrm>
            <a:custGeom>
              <a:avLst/>
              <a:gdLst>
                <a:gd name="T0" fmla="*/ 131 w 601"/>
                <a:gd name="T1" fmla="*/ 1163 h 1163"/>
                <a:gd name="T2" fmla="*/ 0 w 601"/>
                <a:gd name="T3" fmla="*/ 1056 h 1163"/>
                <a:gd name="T4" fmla="*/ 353 w 601"/>
                <a:gd name="T5" fmla="*/ 580 h 1163"/>
                <a:gd name="T6" fmla="*/ 0 w 601"/>
                <a:gd name="T7" fmla="*/ 105 h 1163"/>
                <a:gd name="T8" fmla="*/ 131 w 601"/>
                <a:gd name="T9" fmla="*/ 0 h 1163"/>
                <a:gd name="T10" fmla="*/ 601 w 601"/>
                <a:gd name="T11" fmla="*/ 580 h 1163"/>
                <a:gd name="T12" fmla="*/ 131 w 601"/>
                <a:gd name="T13" fmla="*/ 1163 h 1163"/>
              </a:gdLst>
              <a:ahLst/>
              <a:cxnLst>
                <a:cxn ang="0">
                  <a:pos x="T0" y="T1"/>
                </a:cxn>
                <a:cxn ang="0">
                  <a:pos x="T2" y="T3"/>
                </a:cxn>
                <a:cxn ang="0">
                  <a:pos x="T4" y="T5"/>
                </a:cxn>
                <a:cxn ang="0">
                  <a:pos x="T6" y="T7"/>
                </a:cxn>
                <a:cxn ang="0">
                  <a:pos x="T8" y="T9"/>
                </a:cxn>
                <a:cxn ang="0">
                  <a:pos x="T10" y="T11"/>
                </a:cxn>
                <a:cxn ang="0">
                  <a:pos x="T12" y="T13"/>
                </a:cxn>
              </a:cxnLst>
              <a:rect l="0" t="0" r="r" b="b"/>
              <a:pathLst>
                <a:path w="601" h="1163">
                  <a:moveTo>
                    <a:pt x="131" y="1163"/>
                  </a:moveTo>
                  <a:lnTo>
                    <a:pt x="0" y="1056"/>
                  </a:lnTo>
                  <a:lnTo>
                    <a:pt x="353" y="580"/>
                  </a:lnTo>
                  <a:lnTo>
                    <a:pt x="0" y="105"/>
                  </a:lnTo>
                  <a:lnTo>
                    <a:pt x="131" y="0"/>
                  </a:lnTo>
                  <a:lnTo>
                    <a:pt x="601" y="580"/>
                  </a:lnTo>
                  <a:lnTo>
                    <a:pt x="131" y="116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nl-NL"/>
            </a:p>
          </p:txBody>
        </p:sp>
      </p:grpSp>
      <p:sp>
        <p:nvSpPr>
          <p:cNvPr id="39" name="Tijdelijke aanduiding voor afbeelding 93">
            <a:extLst>
              <a:ext uri="{FF2B5EF4-FFF2-40B4-BE49-F238E27FC236}">
                <a16:creationId xmlns="" xmlns:a16="http://schemas.microsoft.com/office/drawing/2014/main" id="{DB20D588-F22A-4D5B-9A04-5B542DF07D30}"/>
              </a:ext>
            </a:extLst>
          </p:cNvPr>
          <p:cNvSpPr>
            <a:spLocks noGrp="1" noChangeAspect="1"/>
          </p:cNvSpPr>
          <p:nvPr>
            <p:ph type="pic" sz="quarter" idx="19" hasCustomPrompt="1"/>
          </p:nvPr>
        </p:nvSpPr>
        <p:spPr>
          <a:xfrm>
            <a:off x="6135999" y="2736664"/>
            <a:ext cx="2309674" cy="2577794"/>
          </a:xfrm>
          <a:custGeom>
            <a:avLst/>
            <a:gdLst>
              <a:gd name="connsiteX0" fmla="*/ 1137292 w 2494306"/>
              <a:gd name="connsiteY0" fmla="*/ 0 h 2783860"/>
              <a:gd name="connsiteX1" fmla="*/ 1174378 w 2494306"/>
              <a:gd name="connsiteY1" fmla="*/ 767108 h 2783860"/>
              <a:gd name="connsiteX2" fmla="*/ 1146564 w 2494306"/>
              <a:gd name="connsiteY2" fmla="*/ 813506 h 2783860"/>
              <a:gd name="connsiteX3" fmla="*/ 1131111 w 2494306"/>
              <a:gd name="connsiteY3" fmla="*/ 875369 h 2783860"/>
              <a:gd name="connsiteX4" fmla="*/ 1297997 w 2494306"/>
              <a:gd name="connsiteY4" fmla="*/ 1073333 h 2783860"/>
              <a:gd name="connsiteX5" fmla="*/ 1387620 w 2494306"/>
              <a:gd name="connsiteY5" fmla="*/ 1057867 h 2783860"/>
              <a:gd name="connsiteX6" fmla="*/ 1427796 w 2494306"/>
              <a:gd name="connsiteY6" fmla="*/ 1033122 h 2783860"/>
              <a:gd name="connsiteX7" fmla="*/ 1430887 w 2494306"/>
              <a:gd name="connsiteY7" fmla="*/ 1033122 h 2783860"/>
              <a:gd name="connsiteX8" fmla="*/ 2401293 w 2494306"/>
              <a:gd name="connsiteY8" fmla="*/ 1299135 h 2783860"/>
              <a:gd name="connsiteX9" fmla="*/ 2456922 w 2494306"/>
              <a:gd name="connsiteY9" fmla="*/ 1877559 h 2783860"/>
              <a:gd name="connsiteX10" fmla="*/ 2135513 w 2494306"/>
              <a:gd name="connsiteY10" fmla="*/ 2267299 h 2783860"/>
              <a:gd name="connsiteX11" fmla="*/ 1168197 w 2494306"/>
              <a:gd name="connsiteY11" fmla="*/ 2004379 h 2783860"/>
              <a:gd name="connsiteX12" fmla="*/ 1152745 w 2494306"/>
              <a:gd name="connsiteY12" fmla="*/ 1976541 h 2783860"/>
              <a:gd name="connsiteX13" fmla="*/ 1084754 w 2494306"/>
              <a:gd name="connsiteY13" fmla="*/ 1908491 h 2783860"/>
              <a:gd name="connsiteX14" fmla="*/ 834426 w 2494306"/>
              <a:gd name="connsiteY14" fmla="*/ 1973448 h 2783860"/>
              <a:gd name="connsiteX15" fmla="*/ 809703 w 2494306"/>
              <a:gd name="connsiteY15" fmla="*/ 2066243 h 2783860"/>
              <a:gd name="connsiteX16" fmla="*/ 809703 w 2494306"/>
              <a:gd name="connsiteY16" fmla="*/ 2090988 h 2783860"/>
              <a:gd name="connsiteX17" fmla="*/ 809703 w 2494306"/>
              <a:gd name="connsiteY17" fmla="*/ 2094082 h 2783860"/>
              <a:gd name="connsiteX18" fmla="*/ 265780 w 2494306"/>
              <a:gd name="connsiteY18" fmla="*/ 2783860 h 2783860"/>
              <a:gd name="connsiteX19" fmla="*/ 0 w 2494306"/>
              <a:gd name="connsiteY19" fmla="*/ 1784764 h 2783860"/>
              <a:gd name="connsiteX20" fmla="*/ 457389 w 2494306"/>
              <a:gd name="connsiteY20" fmla="*/ 1326973 h 2783860"/>
              <a:gd name="connsiteX21" fmla="*/ 352314 w 2494306"/>
              <a:gd name="connsiteY21" fmla="*/ 733083 h 2783860"/>
              <a:gd name="connsiteX22" fmla="*/ 1137292 w 2494306"/>
              <a:gd name="connsiteY22" fmla="*/ 0 h 2783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494306" h="2783860">
                <a:moveTo>
                  <a:pt x="1137292" y="0"/>
                </a:moveTo>
                <a:cubicBezTo>
                  <a:pt x="1294906" y="219616"/>
                  <a:pt x="1319630" y="519654"/>
                  <a:pt x="1174378" y="767108"/>
                </a:cubicBezTo>
                <a:cubicBezTo>
                  <a:pt x="1174378" y="767108"/>
                  <a:pt x="1174378" y="767108"/>
                  <a:pt x="1146564" y="813506"/>
                </a:cubicBezTo>
                <a:cubicBezTo>
                  <a:pt x="1137292" y="835158"/>
                  <a:pt x="1131111" y="853717"/>
                  <a:pt x="1131111" y="875369"/>
                </a:cubicBezTo>
                <a:cubicBezTo>
                  <a:pt x="1121840" y="977444"/>
                  <a:pt x="1196011" y="1064053"/>
                  <a:pt x="1297997" y="1073333"/>
                </a:cubicBezTo>
                <a:cubicBezTo>
                  <a:pt x="1328901" y="1076426"/>
                  <a:pt x="1359806" y="1070240"/>
                  <a:pt x="1387620" y="1057867"/>
                </a:cubicBezTo>
                <a:cubicBezTo>
                  <a:pt x="1387620" y="1057867"/>
                  <a:pt x="1387620" y="1057867"/>
                  <a:pt x="1427796" y="1033122"/>
                </a:cubicBezTo>
                <a:cubicBezTo>
                  <a:pt x="1430887" y="1033122"/>
                  <a:pt x="1430887" y="1033122"/>
                  <a:pt x="1430887" y="1033122"/>
                </a:cubicBezTo>
                <a:cubicBezTo>
                  <a:pt x="1773929" y="838251"/>
                  <a:pt x="2206594" y="955792"/>
                  <a:pt x="2401293" y="1299135"/>
                </a:cubicBezTo>
                <a:cubicBezTo>
                  <a:pt x="2506369" y="1481632"/>
                  <a:pt x="2518731" y="1691968"/>
                  <a:pt x="2456922" y="1877559"/>
                </a:cubicBezTo>
                <a:cubicBezTo>
                  <a:pt x="2401293" y="2035311"/>
                  <a:pt x="2293127" y="2177597"/>
                  <a:pt x="2135513" y="2267299"/>
                </a:cubicBezTo>
                <a:cubicBezTo>
                  <a:pt x="1795562" y="2462170"/>
                  <a:pt x="1362896" y="2344629"/>
                  <a:pt x="1168197" y="2004379"/>
                </a:cubicBezTo>
                <a:cubicBezTo>
                  <a:pt x="1168197" y="2004379"/>
                  <a:pt x="1168197" y="2004379"/>
                  <a:pt x="1152745" y="1976541"/>
                </a:cubicBezTo>
                <a:cubicBezTo>
                  <a:pt x="1137292" y="1948702"/>
                  <a:pt x="1115659" y="1923957"/>
                  <a:pt x="1084754" y="1908491"/>
                </a:cubicBezTo>
                <a:cubicBezTo>
                  <a:pt x="998221" y="1859000"/>
                  <a:pt x="886964" y="1886839"/>
                  <a:pt x="834426" y="1973448"/>
                </a:cubicBezTo>
                <a:cubicBezTo>
                  <a:pt x="818974" y="2001286"/>
                  <a:pt x="809703" y="2035311"/>
                  <a:pt x="809703" y="2066243"/>
                </a:cubicBezTo>
                <a:cubicBezTo>
                  <a:pt x="809703" y="2066243"/>
                  <a:pt x="809703" y="2066243"/>
                  <a:pt x="809703" y="2090988"/>
                </a:cubicBezTo>
                <a:cubicBezTo>
                  <a:pt x="809703" y="2094082"/>
                  <a:pt x="809703" y="2094082"/>
                  <a:pt x="809703" y="2094082"/>
                </a:cubicBezTo>
                <a:cubicBezTo>
                  <a:pt x="809703" y="2431238"/>
                  <a:pt x="574827" y="2709624"/>
                  <a:pt x="265780" y="2783860"/>
                </a:cubicBezTo>
                <a:cubicBezTo>
                  <a:pt x="265780" y="2783860"/>
                  <a:pt x="265780" y="2783860"/>
                  <a:pt x="0" y="1784764"/>
                </a:cubicBezTo>
                <a:cubicBezTo>
                  <a:pt x="0" y="1784764"/>
                  <a:pt x="0" y="1784764"/>
                  <a:pt x="457389" y="1326973"/>
                </a:cubicBezTo>
                <a:cubicBezTo>
                  <a:pt x="457389" y="1326973"/>
                  <a:pt x="457389" y="1326973"/>
                  <a:pt x="352314" y="733083"/>
                </a:cubicBezTo>
                <a:cubicBezTo>
                  <a:pt x="352314" y="733083"/>
                  <a:pt x="352314" y="733083"/>
                  <a:pt x="1137292" y="0"/>
                </a:cubicBezTo>
                <a:close/>
              </a:path>
            </a:pathLst>
          </a:custGeom>
          <a:solidFill>
            <a:schemeClr val="bg1">
              <a:lumMod val="95000"/>
            </a:schemeClr>
          </a:solidFill>
        </p:spPr>
        <p:txBody>
          <a:bodyPr wrap="square" tIns="756000" anchor="ctr">
            <a:noAutofit/>
          </a:bodyPr>
          <a:lstStyle>
            <a:lvl1pPr marL="0" indent="0" algn="ctr">
              <a:buFont typeface="Arial" panose="020B0604020202020204" pitchFamily="34" charset="0"/>
              <a:buNone/>
              <a:defRPr sz="1000" i="1">
                <a:solidFill>
                  <a:schemeClr val="tx1"/>
                </a:solidFill>
              </a:defRPr>
            </a:lvl1pPr>
          </a:lstStyle>
          <a:p>
            <a:r>
              <a:rPr lang="nl-NL" dirty="0"/>
              <a:t>Klik op het icoon om </a:t>
            </a:r>
            <a:br>
              <a:rPr lang="nl-NL" dirty="0"/>
            </a:br>
            <a:r>
              <a:rPr lang="nl-NL" dirty="0"/>
              <a:t>een afbeelding in te voegen</a:t>
            </a:r>
          </a:p>
        </p:txBody>
      </p:sp>
      <p:sp>
        <p:nvSpPr>
          <p:cNvPr id="47" name="Tijdelijke aanduiding voor tekst 43">
            <a:extLst>
              <a:ext uri="{FF2B5EF4-FFF2-40B4-BE49-F238E27FC236}">
                <a16:creationId xmlns="" xmlns:a16="http://schemas.microsoft.com/office/drawing/2014/main" id="{9F53834D-90E0-4EB2-9BAA-A9D7F1821F61}"/>
              </a:ext>
            </a:extLst>
          </p:cNvPr>
          <p:cNvSpPr>
            <a:spLocks noGrp="1"/>
          </p:cNvSpPr>
          <p:nvPr>
            <p:ph type="body" sz="quarter" idx="20" hasCustomPrompt="1"/>
          </p:nvPr>
        </p:nvSpPr>
        <p:spPr>
          <a:xfrm>
            <a:off x="6135999" y="3971392"/>
            <a:ext cx="2278919" cy="1343066"/>
          </a:xfrm>
          <a:custGeom>
            <a:avLst/>
            <a:gdLst>
              <a:gd name="connsiteX0" fmla="*/ 417559 w 2278919"/>
              <a:gd name="connsiteY0" fmla="*/ 0 h 1343066"/>
              <a:gd name="connsiteX1" fmla="*/ 2278919 w 2278919"/>
              <a:gd name="connsiteY1" fmla="*/ 486677 h 1343066"/>
              <a:gd name="connsiteX2" fmla="*/ 2275057 w 2278919"/>
              <a:gd name="connsiteY2" fmla="*/ 503851 h 1343066"/>
              <a:gd name="connsiteX3" fmla="*/ 1977440 w 2278919"/>
              <a:gd name="connsiteY3" fmla="*/ 864743 h 1343066"/>
              <a:gd name="connsiteX4" fmla="*/ 1081726 w 2278919"/>
              <a:gd name="connsiteY4" fmla="*/ 621284 h 1343066"/>
              <a:gd name="connsiteX5" fmla="*/ 1067417 w 2278919"/>
              <a:gd name="connsiteY5" fmla="*/ 595506 h 1343066"/>
              <a:gd name="connsiteX6" fmla="*/ 1004459 w 2278919"/>
              <a:gd name="connsiteY6" fmla="*/ 532493 h 1343066"/>
              <a:gd name="connsiteX7" fmla="*/ 772661 w 2278919"/>
              <a:gd name="connsiteY7" fmla="*/ 592643 h 1343066"/>
              <a:gd name="connsiteX8" fmla="*/ 749769 w 2278919"/>
              <a:gd name="connsiteY8" fmla="*/ 678569 h 1343066"/>
              <a:gd name="connsiteX9" fmla="*/ 749768 w 2278919"/>
              <a:gd name="connsiteY9" fmla="*/ 701483 h 1343066"/>
              <a:gd name="connsiteX10" fmla="*/ 749768 w 2278919"/>
              <a:gd name="connsiteY10" fmla="*/ 704348 h 1343066"/>
              <a:gd name="connsiteX11" fmla="*/ 246107 w 2278919"/>
              <a:gd name="connsiteY11" fmla="*/ 1343066 h 1343066"/>
              <a:gd name="connsiteX12" fmla="*/ 0 w 2278919"/>
              <a:gd name="connsiteY12" fmla="*/ 417926 h 1343066"/>
              <a:gd name="connsiteX13" fmla="*/ 348980 w 2278919"/>
              <a:gd name="connsiteY13" fmla="*/ 68639 h 1343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78919" h="1343066">
                <a:moveTo>
                  <a:pt x="417559" y="0"/>
                </a:moveTo>
                <a:lnTo>
                  <a:pt x="2278919" y="486677"/>
                </a:lnTo>
                <a:lnTo>
                  <a:pt x="2275057" y="503851"/>
                </a:lnTo>
                <a:cubicBezTo>
                  <a:pt x="2223547" y="649927"/>
                  <a:pt x="2123387" y="781681"/>
                  <a:pt x="1977440" y="864743"/>
                </a:cubicBezTo>
                <a:cubicBezTo>
                  <a:pt x="1662652" y="1045189"/>
                  <a:pt x="1262014" y="936349"/>
                  <a:pt x="1081726" y="621284"/>
                </a:cubicBezTo>
                <a:cubicBezTo>
                  <a:pt x="1081726" y="621284"/>
                  <a:pt x="1081726" y="621284"/>
                  <a:pt x="1067417" y="595506"/>
                </a:cubicBezTo>
                <a:cubicBezTo>
                  <a:pt x="1053108" y="569728"/>
                  <a:pt x="1033077" y="546815"/>
                  <a:pt x="1004459" y="532493"/>
                </a:cubicBezTo>
                <a:cubicBezTo>
                  <a:pt x="924332" y="486667"/>
                  <a:pt x="821310" y="512445"/>
                  <a:pt x="772661" y="592643"/>
                </a:cubicBezTo>
                <a:cubicBezTo>
                  <a:pt x="758353" y="618421"/>
                  <a:pt x="749768" y="649926"/>
                  <a:pt x="749769" y="678569"/>
                </a:cubicBezTo>
                <a:cubicBezTo>
                  <a:pt x="749769" y="678569"/>
                  <a:pt x="749769" y="678569"/>
                  <a:pt x="749768" y="701483"/>
                </a:cubicBezTo>
                <a:cubicBezTo>
                  <a:pt x="749768" y="704348"/>
                  <a:pt x="749768" y="704348"/>
                  <a:pt x="749768" y="704348"/>
                </a:cubicBezTo>
                <a:cubicBezTo>
                  <a:pt x="749768" y="1016547"/>
                  <a:pt x="532278" y="1274325"/>
                  <a:pt x="246107" y="1343066"/>
                </a:cubicBezTo>
                <a:cubicBezTo>
                  <a:pt x="246107" y="1343066"/>
                  <a:pt x="246107" y="1343066"/>
                  <a:pt x="0" y="417926"/>
                </a:cubicBezTo>
                <a:cubicBezTo>
                  <a:pt x="0" y="417926"/>
                  <a:pt x="0" y="417926"/>
                  <a:pt x="348980" y="68639"/>
                </a:cubicBezTo>
                <a:close/>
              </a:path>
            </a:pathLst>
          </a:custGeom>
          <a:solidFill>
            <a:schemeClr val="accent5">
              <a:alpha val="60000"/>
            </a:schemeClr>
          </a:solidFill>
        </p:spPr>
        <p:txBody>
          <a:bodyPr wrap="square">
            <a:noAutofit/>
          </a:bodyPr>
          <a:lstStyle>
            <a:lvl1pPr marL="0" indent="0">
              <a:buFont typeface="Arial" panose="020B0604020202020204" pitchFamily="34" charset="0"/>
              <a:buNone/>
              <a:defRPr/>
            </a:lvl1pPr>
          </a:lstStyle>
          <a:p>
            <a:pPr lvl="0"/>
            <a:r>
              <a:rPr lang="nl-NL" dirty="0"/>
              <a:t> </a:t>
            </a:r>
          </a:p>
        </p:txBody>
      </p:sp>
      <p:sp>
        <p:nvSpPr>
          <p:cNvPr id="48" name="Tijdelijke aanduiding voor afbeelding 82">
            <a:extLst>
              <a:ext uri="{FF2B5EF4-FFF2-40B4-BE49-F238E27FC236}">
                <a16:creationId xmlns="" xmlns:a16="http://schemas.microsoft.com/office/drawing/2014/main" id="{FD67D17B-1245-4F81-80E0-0EA56EDBFB5F}"/>
              </a:ext>
            </a:extLst>
          </p:cNvPr>
          <p:cNvSpPr>
            <a:spLocks noGrp="1" noChangeAspect="1"/>
          </p:cNvSpPr>
          <p:nvPr>
            <p:ph type="pic" sz="quarter" idx="21" hasCustomPrompt="1"/>
          </p:nvPr>
        </p:nvSpPr>
        <p:spPr>
          <a:xfrm>
            <a:off x="4468746" y="1320847"/>
            <a:ext cx="2722829" cy="2332101"/>
          </a:xfrm>
          <a:custGeom>
            <a:avLst/>
            <a:gdLst>
              <a:gd name="connsiteX0" fmla="*/ 1081056 w 2940488"/>
              <a:gd name="connsiteY0" fmla="*/ 3138 h 2518526"/>
              <a:gd name="connsiteX1" fmla="*/ 1504078 w 2940488"/>
              <a:gd name="connsiteY1" fmla="*/ 95364 h 2518526"/>
              <a:gd name="connsiteX2" fmla="*/ 1759372 w 2940488"/>
              <a:gd name="connsiteY2" fmla="*/ 1062165 h 2518526"/>
              <a:gd name="connsiteX3" fmla="*/ 1743992 w 2940488"/>
              <a:gd name="connsiteY3" fmla="*/ 1089876 h 2518526"/>
              <a:gd name="connsiteX4" fmla="*/ 1719386 w 2940488"/>
              <a:gd name="connsiteY4" fmla="*/ 1182246 h 2518526"/>
              <a:gd name="connsiteX5" fmla="*/ 1897784 w 2940488"/>
              <a:gd name="connsiteY5" fmla="*/ 1363906 h 2518526"/>
              <a:gd name="connsiteX6" fmla="*/ 1990058 w 2940488"/>
              <a:gd name="connsiteY6" fmla="*/ 1339274 h 2518526"/>
              <a:gd name="connsiteX7" fmla="*/ 2011589 w 2940488"/>
              <a:gd name="connsiteY7" fmla="*/ 1326958 h 2518526"/>
              <a:gd name="connsiteX8" fmla="*/ 2014665 w 2940488"/>
              <a:gd name="connsiteY8" fmla="*/ 1323879 h 2518526"/>
              <a:gd name="connsiteX9" fmla="*/ 2940488 w 2940488"/>
              <a:gd name="connsiteY9" fmla="*/ 1530171 h 2518526"/>
              <a:gd name="connsiteX10" fmla="*/ 2159229 w 2940488"/>
              <a:gd name="connsiteY10" fmla="*/ 2259891 h 2518526"/>
              <a:gd name="connsiteX11" fmla="*/ 1482547 w 2940488"/>
              <a:gd name="connsiteY11" fmla="*/ 2075152 h 2518526"/>
              <a:gd name="connsiteX12" fmla="*/ 1048856 w 2940488"/>
              <a:gd name="connsiteY12" fmla="*/ 2518526 h 2518526"/>
              <a:gd name="connsiteX13" fmla="*/ 0 w 2940488"/>
              <a:gd name="connsiteY13" fmla="*/ 2229101 h 2518526"/>
              <a:gd name="connsiteX14" fmla="*/ 692061 w 2940488"/>
              <a:gd name="connsiteY14" fmla="*/ 1671805 h 2518526"/>
              <a:gd name="connsiteX15" fmla="*/ 744350 w 2940488"/>
              <a:gd name="connsiteY15" fmla="*/ 1671805 h 2518526"/>
              <a:gd name="connsiteX16" fmla="*/ 808942 w 2940488"/>
              <a:gd name="connsiteY16" fmla="*/ 1656410 h 2518526"/>
              <a:gd name="connsiteX17" fmla="*/ 895065 w 2940488"/>
              <a:gd name="connsiteY17" fmla="*/ 1413170 h 2518526"/>
              <a:gd name="connsiteX18" fmla="*/ 836624 w 2940488"/>
              <a:gd name="connsiteY18" fmla="*/ 1345432 h 2518526"/>
              <a:gd name="connsiteX19" fmla="*/ 793563 w 2940488"/>
              <a:gd name="connsiteY19" fmla="*/ 1320800 h 2518526"/>
              <a:gd name="connsiteX20" fmla="*/ 790487 w 2940488"/>
              <a:gd name="connsiteY20" fmla="*/ 1317721 h 2518526"/>
              <a:gd name="connsiteX21" fmla="*/ 538269 w 2940488"/>
              <a:gd name="connsiteY21" fmla="*/ 350919 h 2518526"/>
              <a:gd name="connsiteX22" fmla="*/ 941202 w 2940488"/>
              <a:gd name="connsiteY22" fmla="*/ 30705 h 2518526"/>
              <a:gd name="connsiteX23" fmla="*/ 1081056 w 2940488"/>
              <a:gd name="connsiteY23" fmla="*/ 3138 h 251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940488" h="2518526">
                <a:moveTo>
                  <a:pt x="1081056" y="3138"/>
                </a:moveTo>
                <a:cubicBezTo>
                  <a:pt x="1223794" y="-10284"/>
                  <a:pt x="1372587" y="19159"/>
                  <a:pt x="1504078" y="95364"/>
                </a:cubicBezTo>
                <a:cubicBezTo>
                  <a:pt x="1842419" y="292419"/>
                  <a:pt x="1953148" y="726556"/>
                  <a:pt x="1759372" y="1062165"/>
                </a:cubicBezTo>
                <a:cubicBezTo>
                  <a:pt x="1759372" y="1062165"/>
                  <a:pt x="1759372" y="1062165"/>
                  <a:pt x="1743992" y="1089876"/>
                </a:cubicBezTo>
                <a:cubicBezTo>
                  <a:pt x="1728613" y="1117587"/>
                  <a:pt x="1719386" y="1148377"/>
                  <a:pt x="1719386" y="1182246"/>
                </a:cubicBezTo>
                <a:cubicBezTo>
                  <a:pt x="1716310" y="1280774"/>
                  <a:pt x="1799357" y="1363906"/>
                  <a:pt x="1897784" y="1363906"/>
                </a:cubicBezTo>
                <a:cubicBezTo>
                  <a:pt x="1931618" y="1363906"/>
                  <a:pt x="1962376" y="1354669"/>
                  <a:pt x="1990058" y="1339274"/>
                </a:cubicBezTo>
                <a:cubicBezTo>
                  <a:pt x="1990058" y="1339274"/>
                  <a:pt x="1990058" y="1339274"/>
                  <a:pt x="2011589" y="1326958"/>
                </a:cubicBezTo>
                <a:cubicBezTo>
                  <a:pt x="2014665" y="1326958"/>
                  <a:pt x="2014665" y="1326958"/>
                  <a:pt x="2014665" y="1323879"/>
                </a:cubicBezTo>
                <a:cubicBezTo>
                  <a:pt x="2334550" y="1145298"/>
                  <a:pt x="2734408" y="1237668"/>
                  <a:pt x="2940488" y="1530171"/>
                </a:cubicBezTo>
                <a:cubicBezTo>
                  <a:pt x="2940488" y="1530171"/>
                  <a:pt x="2940488" y="1530171"/>
                  <a:pt x="2159229" y="2259891"/>
                </a:cubicBezTo>
                <a:cubicBezTo>
                  <a:pt x="2159229" y="2259891"/>
                  <a:pt x="2159229" y="2259891"/>
                  <a:pt x="1482547" y="2075152"/>
                </a:cubicBezTo>
                <a:cubicBezTo>
                  <a:pt x="1482547" y="2075152"/>
                  <a:pt x="1482547" y="2075152"/>
                  <a:pt x="1048856" y="2518526"/>
                </a:cubicBezTo>
                <a:cubicBezTo>
                  <a:pt x="1048856" y="2518526"/>
                  <a:pt x="1048856" y="2518526"/>
                  <a:pt x="0" y="2229101"/>
                </a:cubicBezTo>
                <a:cubicBezTo>
                  <a:pt x="67668" y="1908887"/>
                  <a:pt x="353720" y="1671805"/>
                  <a:pt x="692061" y="1671805"/>
                </a:cubicBezTo>
                <a:cubicBezTo>
                  <a:pt x="692061" y="1671805"/>
                  <a:pt x="692061" y="1671805"/>
                  <a:pt x="744350" y="1671805"/>
                </a:cubicBezTo>
                <a:cubicBezTo>
                  <a:pt x="765880" y="1671805"/>
                  <a:pt x="787411" y="1665647"/>
                  <a:pt x="808942" y="1656410"/>
                </a:cubicBezTo>
                <a:cubicBezTo>
                  <a:pt x="898141" y="1613304"/>
                  <a:pt x="938127" y="1505540"/>
                  <a:pt x="895065" y="1413170"/>
                </a:cubicBezTo>
                <a:cubicBezTo>
                  <a:pt x="879686" y="1385459"/>
                  <a:pt x="861231" y="1360827"/>
                  <a:pt x="836624" y="1345432"/>
                </a:cubicBezTo>
                <a:cubicBezTo>
                  <a:pt x="836624" y="1345432"/>
                  <a:pt x="836624" y="1345432"/>
                  <a:pt x="793563" y="1320800"/>
                </a:cubicBezTo>
                <a:cubicBezTo>
                  <a:pt x="793563" y="1320800"/>
                  <a:pt x="793563" y="1317721"/>
                  <a:pt x="790487" y="1317721"/>
                </a:cubicBezTo>
                <a:cubicBezTo>
                  <a:pt x="455222" y="1120666"/>
                  <a:pt x="341417" y="686529"/>
                  <a:pt x="538269" y="350919"/>
                </a:cubicBezTo>
                <a:cubicBezTo>
                  <a:pt x="630544" y="190812"/>
                  <a:pt x="778184" y="79969"/>
                  <a:pt x="941202" y="30705"/>
                </a:cubicBezTo>
                <a:cubicBezTo>
                  <a:pt x="986571" y="16849"/>
                  <a:pt x="1033477" y="7612"/>
                  <a:pt x="1081056" y="3138"/>
                </a:cubicBezTo>
                <a:close/>
              </a:path>
            </a:pathLst>
          </a:custGeom>
          <a:solidFill>
            <a:schemeClr val="bg1">
              <a:lumMod val="95000"/>
            </a:schemeClr>
          </a:solidFill>
        </p:spPr>
        <p:txBody>
          <a:bodyPr wrap="square" tIns="756000" anchor="ctr">
            <a:noAutofit/>
          </a:bodyPr>
          <a:lstStyle>
            <a:lvl1pPr marL="0" indent="0" algn="ctr">
              <a:buFont typeface="Arial" panose="020B0604020202020204" pitchFamily="34" charset="0"/>
              <a:buNone/>
              <a:defRPr sz="1000" i="1">
                <a:solidFill>
                  <a:schemeClr val="tx1"/>
                </a:solidFill>
              </a:defRPr>
            </a:lvl1pPr>
          </a:lstStyle>
          <a:p>
            <a:r>
              <a:rPr lang="nl-NL" dirty="0"/>
              <a:t>Klik op het icoon om </a:t>
            </a:r>
            <a:br>
              <a:rPr lang="nl-NL" dirty="0"/>
            </a:br>
            <a:r>
              <a:rPr lang="nl-NL" dirty="0"/>
              <a:t>een afbeelding in te voegen</a:t>
            </a:r>
          </a:p>
        </p:txBody>
      </p:sp>
      <p:sp>
        <p:nvSpPr>
          <p:cNvPr id="49" name="Tijdelijke aanduiding voor afbeelding 102">
            <a:extLst>
              <a:ext uri="{FF2B5EF4-FFF2-40B4-BE49-F238E27FC236}">
                <a16:creationId xmlns="" xmlns:a16="http://schemas.microsoft.com/office/drawing/2014/main" id="{36E9C784-163E-4840-B90C-871F07436742}"/>
              </a:ext>
            </a:extLst>
          </p:cNvPr>
          <p:cNvSpPr>
            <a:spLocks noGrp="1" noChangeAspect="1"/>
          </p:cNvSpPr>
          <p:nvPr>
            <p:ph type="pic" sz="quarter" idx="22" hasCustomPrompt="1"/>
          </p:nvPr>
        </p:nvSpPr>
        <p:spPr>
          <a:xfrm>
            <a:off x="4021759" y="3382789"/>
            <a:ext cx="2367610" cy="2351261"/>
          </a:xfrm>
          <a:custGeom>
            <a:avLst/>
            <a:gdLst>
              <a:gd name="connsiteX0" fmla="*/ 474016 w 2548603"/>
              <a:gd name="connsiteY0" fmla="*/ 0 h 2531006"/>
              <a:gd name="connsiteX1" fmla="*/ 1520544 w 2548603"/>
              <a:gd name="connsiteY1" fmla="*/ 289434 h 2531006"/>
              <a:gd name="connsiteX2" fmla="*/ 1683679 w 2548603"/>
              <a:gd name="connsiteY2" fmla="*/ 911409 h 2531006"/>
              <a:gd name="connsiteX3" fmla="*/ 2283893 w 2548603"/>
              <a:gd name="connsiteY3" fmla="*/ 1077679 h 2531006"/>
              <a:gd name="connsiteX4" fmla="*/ 2548603 w 2548603"/>
              <a:gd name="connsiteY4" fmla="*/ 2072223 h 2531006"/>
              <a:gd name="connsiteX5" fmla="*/ 1769863 w 2548603"/>
              <a:gd name="connsiteY5" fmla="*/ 1736603 h 2531006"/>
              <a:gd name="connsiteX6" fmla="*/ 1745239 w 2548603"/>
              <a:gd name="connsiteY6" fmla="*/ 1687338 h 2531006"/>
              <a:gd name="connsiteX7" fmla="*/ 1699069 w 2548603"/>
              <a:gd name="connsiteY7" fmla="*/ 1644230 h 2531006"/>
              <a:gd name="connsiteX8" fmla="*/ 1446671 w 2548603"/>
              <a:gd name="connsiteY8" fmla="*/ 1690417 h 2531006"/>
              <a:gd name="connsiteX9" fmla="*/ 1415891 w 2548603"/>
              <a:gd name="connsiteY9" fmla="*/ 1773552 h 2531006"/>
              <a:gd name="connsiteX10" fmla="*/ 1415891 w 2548603"/>
              <a:gd name="connsiteY10" fmla="*/ 1822817 h 2531006"/>
              <a:gd name="connsiteX11" fmla="*/ 1415891 w 2548603"/>
              <a:gd name="connsiteY11" fmla="*/ 1825896 h 2531006"/>
              <a:gd name="connsiteX12" fmla="*/ 704867 w 2548603"/>
              <a:gd name="connsiteY12" fmla="*/ 2531006 h 2531006"/>
              <a:gd name="connsiteX13" fmla="*/ 196994 w 2548603"/>
              <a:gd name="connsiteY13" fmla="*/ 2312391 h 2531006"/>
              <a:gd name="connsiteX14" fmla="*/ 0 w 2548603"/>
              <a:gd name="connsiteY14" fmla="*/ 1819738 h 2531006"/>
              <a:gd name="connsiteX15" fmla="*/ 707945 w 2548603"/>
              <a:gd name="connsiteY15" fmla="*/ 1114628 h 2531006"/>
              <a:gd name="connsiteX16" fmla="*/ 738726 w 2548603"/>
              <a:gd name="connsiteY16" fmla="*/ 1114628 h 2531006"/>
              <a:gd name="connsiteX17" fmla="*/ 834144 w 2548603"/>
              <a:gd name="connsiteY17" fmla="*/ 1093075 h 2531006"/>
              <a:gd name="connsiteX18" fmla="*/ 901861 w 2548603"/>
              <a:gd name="connsiteY18" fmla="*/ 843669 h 2531006"/>
              <a:gd name="connsiteX19" fmla="*/ 834144 w 2548603"/>
              <a:gd name="connsiteY19" fmla="*/ 775929 h 2531006"/>
              <a:gd name="connsiteX20" fmla="*/ 812598 w 2548603"/>
              <a:gd name="connsiteY20" fmla="*/ 763613 h 2531006"/>
              <a:gd name="connsiteX21" fmla="*/ 806442 w 2548603"/>
              <a:gd name="connsiteY21" fmla="*/ 760534 h 2531006"/>
              <a:gd name="connsiteX22" fmla="*/ 474016 w 2548603"/>
              <a:gd name="connsiteY22" fmla="*/ 0 h 2531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548603" h="2531006">
                <a:moveTo>
                  <a:pt x="474016" y="0"/>
                </a:moveTo>
                <a:cubicBezTo>
                  <a:pt x="474016" y="0"/>
                  <a:pt x="474016" y="0"/>
                  <a:pt x="1520544" y="289434"/>
                </a:cubicBezTo>
                <a:cubicBezTo>
                  <a:pt x="1520544" y="289434"/>
                  <a:pt x="1520544" y="289434"/>
                  <a:pt x="1683679" y="911409"/>
                </a:cubicBezTo>
                <a:cubicBezTo>
                  <a:pt x="1683679" y="911409"/>
                  <a:pt x="1683679" y="911409"/>
                  <a:pt x="2283893" y="1077679"/>
                </a:cubicBezTo>
                <a:lnTo>
                  <a:pt x="2548603" y="2072223"/>
                </a:lnTo>
                <a:cubicBezTo>
                  <a:pt x="2250035" y="2143042"/>
                  <a:pt x="1929921" y="2013720"/>
                  <a:pt x="1769863" y="1736603"/>
                </a:cubicBezTo>
                <a:cubicBezTo>
                  <a:pt x="1769863" y="1736603"/>
                  <a:pt x="1769863" y="1736603"/>
                  <a:pt x="1745239" y="1687338"/>
                </a:cubicBezTo>
                <a:cubicBezTo>
                  <a:pt x="1732927" y="1671942"/>
                  <a:pt x="1717537" y="1656547"/>
                  <a:pt x="1699069" y="1644230"/>
                </a:cubicBezTo>
                <a:cubicBezTo>
                  <a:pt x="1615962" y="1585728"/>
                  <a:pt x="1502075" y="1607281"/>
                  <a:pt x="1446671" y="1690417"/>
                </a:cubicBezTo>
                <a:cubicBezTo>
                  <a:pt x="1428203" y="1715049"/>
                  <a:pt x="1418969" y="1745840"/>
                  <a:pt x="1415891" y="1773552"/>
                </a:cubicBezTo>
                <a:cubicBezTo>
                  <a:pt x="1415891" y="1773552"/>
                  <a:pt x="1415891" y="1773552"/>
                  <a:pt x="1415891" y="1822817"/>
                </a:cubicBezTo>
                <a:cubicBezTo>
                  <a:pt x="1415891" y="1822817"/>
                  <a:pt x="1415891" y="1825896"/>
                  <a:pt x="1415891" y="1825896"/>
                </a:cubicBezTo>
                <a:cubicBezTo>
                  <a:pt x="1412813" y="2216940"/>
                  <a:pt x="1092698" y="2531006"/>
                  <a:pt x="704867" y="2531006"/>
                </a:cubicBezTo>
                <a:cubicBezTo>
                  <a:pt x="504796" y="2527927"/>
                  <a:pt x="323193" y="2444792"/>
                  <a:pt x="196994" y="2312391"/>
                </a:cubicBezTo>
                <a:cubicBezTo>
                  <a:pt x="73873" y="2183070"/>
                  <a:pt x="0" y="2010641"/>
                  <a:pt x="0" y="1819738"/>
                </a:cubicBezTo>
                <a:cubicBezTo>
                  <a:pt x="3078" y="1428695"/>
                  <a:pt x="320115" y="1114628"/>
                  <a:pt x="707945" y="1114628"/>
                </a:cubicBezTo>
                <a:cubicBezTo>
                  <a:pt x="707945" y="1114628"/>
                  <a:pt x="707945" y="1114628"/>
                  <a:pt x="738726" y="1114628"/>
                </a:cubicBezTo>
                <a:cubicBezTo>
                  <a:pt x="772584" y="1114628"/>
                  <a:pt x="803364" y="1108470"/>
                  <a:pt x="834144" y="1093075"/>
                </a:cubicBezTo>
                <a:cubicBezTo>
                  <a:pt x="920329" y="1040730"/>
                  <a:pt x="951109" y="929883"/>
                  <a:pt x="901861" y="843669"/>
                </a:cubicBezTo>
                <a:cubicBezTo>
                  <a:pt x="883393" y="815957"/>
                  <a:pt x="861847" y="791324"/>
                  <a:pt x="834144" y="775929"/>
                </a:cubicBezTo>
                <a:cubicBezTo>
                  <a:pt x="834144" y="775929"/>
                  <a:pt x="834144" y="775929"/>
                  <a:pt x="812598" y="763613"/>
                </a:cubicBezTo>
                <a:cubicBezTo>
                  <a:pt x="809520" y="763613"/>
                  <a:pt x="809520" y="763613"/>
                  <a:pt x="806442" y="760534"/>
                </a:cubicBezTo>
                <a:cubicBezTo>
                  <a:pt x="535576" y="603500"/>
                  <a:pt x="412455" y="292513"/>
                  <a:pt x="474016" y="0"/>
                </a:cubicBezTo>
                <a:close/>
              </a:path>
            </a:pathLst>
          </a:custGeom>
          <a:solidFill>
            <a:schemeClr val="bg1">
              <a:lumMod val="95000"/>
            </a:schemeClr>
          </a:solidFill>
        </p:spPr>
        <p:txBody>
          <a:bodyPr wrap="square" tIns="756000" anchor="ctr">
            <a:noAutofit/>
          </a:bodyPr>
          <a:lstStyle>
            <a:lvl1pPr marL="0" indent="0" algn="ctr">
              <a:buFont typeface="Arial" panose="020B0604020202020204" pitchFamily="34" charset="0"/>
              <a:buNone/>
              <a:defRPr sz="1000" i="1">
                <a:solidFill>
                  <a:schemeClr val="tx1"/>
                </a:solidFill>
              </a:defRPr>
            </a:lvl1pPr>
          </a:lstStyle>
          <a:p>
            <a:r>
              <a:rPr lang="nl-NL" dirty="0"/>
              <a:t>Klik op het icoon om </a:t>
            </a:r>
            <a:br>
              <a:rPr lang="nl-NL" dirty="0"/>
            </a:br>
            <a:r>
              <a:rPr lang="nl-NL" dirty="0"/>
              <a:t>een afbeelding in te voegen</a:t>
            </a:r>
          </a:p>
        </p:txBody>
      </p:sp>
      <p:sp>
        <p:nvSpPr>
          <p:cNvPr id="50" name="Tijdelijke aanduiding voor tekst 31">
            <a:extLst>
              <a:ext uri="{FF2B5EF4-FFF2-40B4-BE49-F238E27FC236}">
                <a16:creationId xmlns="" xmlns:a16="http://schemas.microsoft.com/office/drawing/2014/main" id="{4C10E8F6-59F0-4C49-BC5E-A267B5BBA3BF}"/>
              </a:ext>
            </a:extLst>
          </p:cNvPr>
          <p:cNvSpPr>
            <a:spLocks noGrp="1"/>
          </p:cNvSpPr>
          <p:nvPr>
            <p:ph type="body" sz="quarter" idx="23" hasCustomPrompt="1"/>
          </p:nvPr>
        </p:nvSpPr>
        <p:spPr>
          <a:xfrm>
            <a:off x="5372592" y="1320847"/>
            <a:ext cx="1818983" cy="2092610"/>
          </a:xfrm>
          <a:custGeom>
            <a:avLst/>
            <a:gdLst>
              <a:gd name="connsiteX0" fmla="*/ 197031 w 1818983"/>
              <a:gd name="connsiteY0" fmla="*/ 1082 h 2092610"/>
              <a:gd name="connsiteX1" fmla="*/ 488898 w 1818983"/>
              <a:gd name="connsiteY1" fmla="*/ 88304 h 2092610"/>
              <a:gd name="connsiteX2" fmla="*/ 725296 w 1818983"/>
              <a:gd name="connsiteY2" fmla="*/ 983541 h 2092610"/>
              <a:gd name="connsiteX3" fmla="*/ 711054 w 1818983"/>
              <a:gd name="connsiteY3" fmla="*/ 1009201 h 2092610"/>
              <a:gd name="connsiteX4" fmla="*/ 688270 w 1818983"/>
              <a:gd name="connsiteY4" fmla="*/ 1094733 h 2092610"/>
              <a:gd name="connsiteX5" fmla="*/ 853463 w 1818983"/>
              <a:gd name="connsiteY5" fmla="*/ 1262947 h 2092610"/>
              <a:gd name="connsiteX6" fmla="*/ 938905 w 1818983"/>
              <a:gd name="connsiteY6" fmla="*/ 1240138 h 2092610"/>
              <a:gd name="connsiteX7" fmla="*/ 958844 w 1818983"/>
              <a:gd name="connsiteY7" fmla="*/ 1228734 h 2092610"/>
              <a:gd name="connsiteX8" fmla="*/ 961692 w 1818983"/>
              <a:gd name="connsiteY8" fmla="*/ 1225883 h 2092610"/>
              <a:gd name="connsiteX9" fmla="*/ 1818983 w 1818983"/>
              <a:gd name="connsiteY9" fmla="*/ 1416904 h 2092610"/>
              <a:gd name="connsiteX10" fmla="*/ 1095555 w 1818983"/>
              <a:gd name="connsiteY10" fmla="*/ 2092610 h 2092610"/>
              <a:gd name="connsiteX11" fmla="*/ 579257 w 1818983"/>
              <a:gd name="connsiteY11" fmla="*/ 1951657 h 2092610"/>
              <a:gd name="connsiteX12" fmla="*/ 477813 w 1818983"/>
              <a:gd name="connsiteY12" fmla="*/ 1923961 h 2092610"/>
              <a:gd name="connsiteX13" fmla="*/ 0 w 1818983"/>
              <a:gd name="connsiteY13" fmla="*/ 22062 h 2092610"/>
              <a:gd name="connsiteX14" fmla="*/ 97189 w 1818983"/>
              <a:gd name="connsiteY14" fmla="*/ 2905 h 2092610"/>
              <a:gd name="connsiteX15" fmla="*/ 197031 w 1818983"/>
              <a:gd name="connsiteY15" fmla="*/ 1082 h 209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18983" h="2092610">
                <a:moveTo>
                  <a:pt x="197031" y="1082"/>
                </a:moveTo>
                <a:cubicBezTo>
                  <a:pt x="297249" y="6815"/>
                  <a:pt x="397580" y="35382"/>
                  <a:pt x="488898" y="88304"/>
                </a:cubicBezTo>
                <a:cubicBezTo>
                  <a:pt x="802195" y="270773"/>
                  <a:pt x="904727" y="672775"/>
                  <a:pt x="725296" y="983541"/>
                </a:cubicBezTo>
                <a:cubicBezTo>
                  <a:pt x="725296" y="983541"/>
                  <a:pt x="725296" y="983541"/>
                  <a:pt x="711054" y="1009201"/>
                </a:cubicBezTo>
                <a:cubicBezTo>
                  <a:pt x="696814" y="1034861"/>
                  <a:pt x="688269" y="1063371"/>
                  <a:pt x="688270" y="1094733"/>
                </a:cubicBezTo>
                <a:cubicBezTo>
                  <a:pt x="685422" y="1185968"/>
                  <a:pt x="762320" y="1262947"/>
                  <a:pt x="853463" y="1262947"/>
                </a:cubicBezTo>
                <a:cubicBezTo>
                  <a:pt x="884791" y="1262947"/>
                  <a:pt x="913272" y="1254394"/>
                  <a:pt x="938905" y="1240138"/>
                </a:cubicBezTo>
                <a:cubicBezTo>
                  <a:pt x="938905" y="1240138"/>
                  <a:pt x="938905" y="1240138"/>
                  <a:pt x="958844" y="1228734"/>
                </a:cubicBezTo>
                <a:cubicBezTo>
                  <a:pt x="961692" y="1228735"/>
                  <a:pt x="961692" y="1228735"/>
                  <a:pt x="961692" y="1225883"/>
                </a:cubicBezTo>
                <a:cubicBezTo>
                  <a:pt x="1257897" y="1060520"/>
                  <a:pt x="1628157" y="1146053"/>
                  <a:pt x="1818983" y="1416904"/>
                </a:cubicBezTo>
                <a:cubicBezTo>
                  <a:pt x="1818983" y="1416904"/>
                  <a:pt x="1818983" y="1416904"/>
                  <a:pt x="1095555" y="2092610"/>
                </a:cubicBezTo>
                <a:cubicBezTo>
                  <a:pt x="1095555" y="2092610"/>
                  <a:pt x="1095555" y="2092610"/>
                  <a:pt x="579257" y="1951657"/>
                </a:cubicBezTo>
                <a:lnTo>
                  <a:pt x="477813" y="1923961"/>
                </a:lnTo>
                <a:lnTo>
                  <a:pt x="0" y="22062"/>
                </a:lnTo>
                <a:lnTo>
                  <a:pt x="97189" y="2905"/>
                </a:lnTo>
                <a:cubicBezTo>
                  <a:pt x="130232" y="-202"/>
                  <a:pt x="163626" y="-828"/>
                  <a:pt x="197031" y="1082"/>
                </a:cubicBezTo>
                <a:close/>
              </a:path>
            </a:pathLst>
          </a:custGeom>
          <a:solidFill>
            <a:srgbClr val="F460A1">
              <a:alpha val="60000"/>
            </a:srgbClr>
          </a:solidFill>
        </p:spPr>
        <p:txBody>
          <a:bodyPr vert="horz" wrap="square" lIns="0" tIns="0" rIns="0" bIns="0" rtlCol="0">
            <a:noAutofit/>
          </a:bodyPr>
          <a:lstStyle>
            <a:lvl1pPr marL="0" indent="0">
              <a:buFont typeface="Arial" panose="020B0604020202020204" pitchFamily="34" charset="0"/>
              <a:buNone/>
              <a:defRPr lang="nl-NL" dirty="0"/>
            </a:lvl1pPr>
          </a:lstStyle>
          <a:p>
            <a:pPr marL="355600" lvl="0" indent="-355600"/>
            <a:r>
              <a:rPr lang="nl-NL" dirty="0"/>
              <a:t> </a:t>
            </a:r>
          </a:p>
        </p:txBody>
      </p:sp>
      <p:sp>
        <p:nvSpPr>
          <p:cNvPr id="51" name="Tijdelijke aanduiding voor tekst 51">
            <a:extLst>
              <a:ext uri="{FF2B5EF4-FFF2-40B4-BE49-F238E27FC236}">
                <a16:creationId xmlns="" xmlns:a16="http://schemas.microsoft.com/office/drawing/2014/main" id="{03BFEB6A-3D38-49BA-A459-86C1EA8CF410}"/>
              </a:ext>
            </a:extLst>
          </p:cNvPr>
          <p:cNvSpPr>
            <a:spLocks noGrp="1"/>
          </p:cNvSpPr>
          <p:nvPr>
            <p:ph type="body" sz="quarter" idx="24" hasCustomPrompt="1"/>
          </p:nvPr>
        </p:nvSpPr>
        <p:spPr>
          <a:xfrm>
            <a:off x="4021759" y="3382789"/>
            <a:ext cx="1574665" cy="2168663"/>
          </a:xfrm>
          <a:custGeom>
            <a:avLst/>
            <a:gdLst>
              <a:gd name="connsiteX0" fmla="*/ 440353 w 1574665"/>
              <a:gd name="connsiteY0" fmla="*/ 0 h 2168663"/>
              <a:gd name="connsiteX1" fmla="*/ 1412560 w 1574665"/>
              <a:gd name="connsiteY1" fmla="*/ 268879 h 2168663"/>
              <a:gd name="connsiteX2" fmla="*/ 1564111 w 1574665"/>
              <a:gd name="connsiteY2" fmla="*/ 846683 h 2168663"/>
              <a:gd name="connsiteX3" fmla="*/ 1572823 w 1574665"/>
              <a:gd name="connsiteY3" fmla="*/ 849096 h 2168663"/>
              <a:gd name="connsiteX4" fmla="*/ 1574665 w 1574665"/>
              <a:gd name="connsiteY4" fmla="*/ 849606 h 2168663"/>
              <a:gd name="connsiteX5" fmla="*/ 206899 w 1574665"/>
              <a:gd name="connsiteY5" fmla="*/ 2168663 h 2168663"/>
              <a:gd name="connsiteX6" fmla="*/ 183005 w 1574665"/>
              <a:gd name="connsiteY6" fmla="*/ 2148172 h 2168663"/>
              <a:gd name="connsiteX7" fmla="*/ 0 w 1574665"/>
              <a:gd name="connsiteY7" fmla="*/ 1690505 h 2168663"/>
              <a:gd name="connsiteX8" fmla="*/ 657669 w 1574665"/>
              <a:gd name="connsiteY8" fmla="*/ 1035470 h 2168663"/>
              <a:gd name="connsiteX9" fmla="*/ 686264 w 1574665"/>
              <a:gd name="connsiteY9" fmla="*/ 1035470 h 2168663"/>
              <a:gd name="connsiteX10" fmla="*/ 774906 w 1574665"/>
              <a:gd name="connsiteY10" fmla="*/ 1015448 h 2168663"/>
              <a:gd name="connsiteX11" fmla="*/ 837815 w 1574665"/>
              <a:gd name="connsiteY11" fmla="*/ 783754 h 2168663"/>
              <a:gd name="connsiteX12" fmla="*/ 774907 w 1574665"/>
              <a:gd name="connsiteY12" fmla="*/ 720825 h 2168663"/>
              <a:gd name="connsiteX13" fmla="*/ 754890 w 1574665"/>
              <a:gd name="connsiteY13" fmla="*/ 709383 h 2168663"/>
              <a:gd name="connsiteX14" fmla="*/ 749172 w 1574665"/>
              <a:gd name="connsiteY14" fmla="*/ 706523 h 2168663"/>
              <a:gd name="connsiteX15" fmla="*/ 440353 w 1574665"/>
              <a:gd name="connsiteY15" fmla="*/ 0 h 2168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74665" h="2168663">
                <a:moveTo>
                  <a:pt x="440353" y="0"/>
                </a:moveTo>
                <a:cubicBezTo>
                  <a:pt x="440353" y="0"/>
                  <a:pt x="440353" y="0"/>
                  <a:pt x="1412560" y="268879"/>
                </a:cubicBezTo>
                <a:cubicBezTo>
                  <a:pt x="1412560" y="268879"/>
                  <a:pt x="1412560" y="268879"/>
                  <a:pt x="1564111" y="846683"/>
                </a:cubicBezTo>
                <a:cubicBezTo>
                  <a:pt x="1564111" y="846683"/>
                  <a:pt x="1564111" y="846683"/>
                  <a:pt x="1572823" y="849096"/>
                </a:cubicBezTo>
                <a:lnTo>
                  <a:pt x="1574665" y="849606"/>
                </a:lnTo>
                <a:lnTo>
                  <a:pt x="206899" y="2168663"/>
                </a:lnTo>
                <a:lnTo>
                  <a:pt x="183005" y="2148172"/>
                </a:lnTo>
                <a:cubicBezTo>
                  <a:pt x="68628" y="2028035"/>
                  <a:pt x="0" y="1867851"/>
                  <a:pt x="0" y="1690505"/>
                </a:cubicBezTo>
                <a:cubicBezTo>
                  <a:pt x="2860" y="1327233"/>
                  <a:pt x="297383" y="1035470"/>
                  <a:pt x="657669" y="1035470"/>
                </a:cubicBezTo>
                <a:cubicBezTo>
                  <a:pt x="657669" y="1035470"/>
                  <a:pt x="657669" y="1035470"/>
                  <a:pt x="686264" y="1035470"/>
                </a:cubicBezTo>
                <a:cubicBezTo>
                  <a:pt x="717719" y="1035470"/>
                  <a:pt x="746312" y="1029750"/>
                  <a:pt x="774906" y="1015448"/>
                </a:cubicBezTo>
                <a:cubicBezTo>
                  <a:pt x="854970" y="966820"/>
                  <a:pt x="883566" y="863845"/>
                  <a:pt x="837815" y="783754"/>
                </a:cubicBezTo>
                <a:cubicBezTo>
                  <a:pt x="820659" y="758010"/>
                  <a:pt x="800643" y="735127"/>
                  <a:pt x="774907" y="720825"/>
                </a:cubicBezTo>
                <a:cubicBezTo>
                  <a:pt x="774907" y="720825"/>
                  <a:pt x="774907" y="720825"/>
                  <a:pt x="754890" y="709383"/>
                </a:cubicBezTo>
                <a:cubicBezTo>
                  <a:pt x="752032" y="709383"/>
                  <a:pt x="752032" y="709383"/>
                  <a:pt x="749172" y="706523"/>
                </a:cubicBezTo>
                <a:cubicBezTo>
                  <a:pt x="497542" y="560641"/>
                  <a:pt x="383165" y="271740"/>
                  <a:pt x="440353" y="0"/>
                </a:cubicBezTo>
                <a:close/>
              </a:path>
            </a:pathLst>
          </a:custGeom>
          <a:solidFill>
            <a:srgbClr val="00953A">
              <a:alpha val="60000"/>
            </a:srgbClr>
          </a:solidFill>
        </p:spPr>
        <p:txBody>
          <a:bodyPr vert="horz" wrap="square" lIns="0" tIns="0" rIns="0" bIns="0" rtlCol="0">
            <a:noAutofit/>
          </a:bodyPr>
          <a:lstStyle>
            <a:lvl1pPr marL="0" indent="0">
              <a:buFont typeface="Arial" panose="020B0604020202020204" pitchFamily="34" charset="0"/>
              <a:buNone/>
              <a:defRPr lang="nl-NL" dirty="0"/>
            </a:lvl1pPr>
          </a:lstStyle>
          <a:p>
            <a:pPr marL="355600" lvl="0" indent="-355600"/>
            <a:r>
              <a:rPr lang="nl-NL" dirty="0"/>
              <a:t> </a:t>
            </a:r>
          </a:p>
        </p:txBody>
      </p:sp>
      <p:sp>
        <p:nvSpPr>
          <p:cNvPr id="53" name="Tijdelijke aanduiding voor tekst 3">
            <a:extLst>
              <a:ext uri="{FF2B5EF4-FFF2-40B4-BE49-F238E27FC236}">
                <a16:creationId xmlns="" xmlns:a16="http://schemas.microsoft.com/office/drawing/2014/main" id="{D21EE7E0-D064-45FA-BC71-7987CE920FE9}"/>
              </a:ext>
            </a:extLst>
          </p:cNvPr>
          <p:cNvSpPr>
            <a:spLocks noGrp="1"/>
          </p:cNvSpPr>
          <p:nvPr>
            <p:ph type="body" sz="quarter" idx="25" hasCustomPrompt="1"/>
          </p:nvPr>
        </p:nvSpPr>
        <p:spPr>
          <a:xfrm>
            <a:off x="7577591" y="1480454"/>
            <a:ext cx="2714400" cy="344710"/>
          </a:xfrm>
        </p:spPr>
        <p:txBody>
          <a:bodyPr wrap="square">
            <a:spAutoFit/>
          </a:bodyPr>
          <a:lstStyle>
            <a:lvl1pPr marL="0" indent="0">
              <a:buNone/>
              <a:defRPr sz="2000">
                <a:solidFill>
                  <a:schemeClr val="accent4"/>
                </a:solidFill>
                <a:latin typeface="Calibri Light" panose="020F0302020204030204" pitchFamily="34" charset="0"/>
                <a:cs typeface="Calibri Light" panose="020F0302020204030204" pitchFamily="34" charset="0"/>
              </a:defRPr>
            </a:lvl1pPr>
          </a:lstStyle>
          <a:p>
            <a:pPr lvl="0"/>
            <a:r>
              <a:rPr lang="nl-NL" dirty="0"/>
              <a:t>Tekstje</a:t>
            </a:r>
          </a:p>
        </p:txBody>
      </p:sp>
      <p:sp>
        <p:nvSpPr>
          <p:cNvPr id="54" name="Tijdelijke aanduiding voor tekst 3">
            <a:extLst>
              <a:ext uri="{FF2B5EF4-FFF2-40B4-BE49-F238E27FC236}">
                <a16:creationId xmlns="" xmlns:a16="http://schemas.microsoft.com/office/drawing/2014/main" id="{8B4139C8-596A-4D66-A66A-1CA33CDAD157}"/>
              </a:ext>
            </a:extLst>
          </p:cNvPr>
          <p:cNvSpPr>
            <a:spLocks noGrp="1"/>
          </p:cNvSpPr>
          <p:nvPr>
            <p:ph type="body" sz="quarter" idx="26" hasCustomPrompt="1"/>
          </p:nvPr>
        </p:nvSpPr>
        <p:spPr>
          <a:xfrm>
            <a:off x="7260091" y="5299270"/>
            <a:ext cx="2714400" cy="344710"/>
          </a:xfrm>
        </p:spPr>
        <p:txBody>
          <a:bodyPr wrap="square">
            <a:spAutoFit/>
          </a:bodyPr>
          <a:lstStyle>
            <a:lvl1pPr marL="0" indent="0">
              <a:buNone/>
              <a:defRPr sz="2000">
                <a:solidFill>
                  <a:schemeClr val="accent5"/>
                </a:solidFill>
                <a:latin typeface="Calibri Light" panose="020F0302020204030204" pitchFamily="34" charset="0"/>
                <a:cs typeface="Calibri Light" panose="020F0302020204030204" pitchFamily="34" charset="0"/>
              </a:defRPr>
            </a:lvl1pPr>
          </a:lstStyle>
          <a:p>
            <a:pPr lvl="0"/>
            <a:r>
              <a:rPr lang="nl-NL" dirty="0"/>
              <a:t>Tekstje</a:t>
            </a:r>
          </a:p>
        </p:txBody>
      </p:sp>
      <p:sp>
        <p:nvSpPr>
          <p:cNvPr id="55" name="Tijdelijke aanduiding voor tekst 3">
            <a:extLst>
              <a:ext uri="{FF2B5EF4-FFF2-40B4-BE49-F238E27FC236}">
                <a16:creationId xmlns="" xmlns:a16="http://schemas.microsoft.com/office/drawing/2014/main" id="{0E668E43-5B48-4240-B228-0CD01C3DFF6F}"/>
              </a:ext>
            </a:extLst>
          </p:cNvPr>
          <p:cNvSpPr>
            <a:spLocks noGrp="1"/>
          </p:cNvSpPr>
          <p:nvPr>
            <p:ph type="body" sz="quarter" idx="27" hasCustomPrompt="1"/>
          </p:nvPr>
        </p:nvSpPr>
        <p:spPr>
          <a:xfrm>
            <a:off x="958850" y="3453325"/>
            <a:ext cx="2712813" cy="344710"/>
          </a:xfrm>
        </p:spPr>
        <p:txBody>
          <a:bodyPr wrap="square" anchor="b" anchorCtr="0">
            <a:spAutoFit/>
          </a:bodyPr>
          <a:lstStyle>
            <a:lvl1pPr marL="0" indent="0">
              <a:buNone/>
              <a:defRPr sz="2000">
                <a:solidFill>
                  <a:schemeClr val="accent2"/>
                </a:solidFill>
                <a:latin typeface="Calibri Light" panose="020F0302020204030204" pitchFamily="34" charset="0"/>
                <a:cs typeface="Calibri Light" panose="020F0302020204030204" pitchFamily="34" charset="0"/>
              </a:defRPr>
            </a:lvl1pPr>
          </a:lstStyle>
          <a:p>
            <a:pPr lvl="0"/>
            <a:r>
              <a:rPr lang="nl-NL" dirty="0"/>
              <a:t>Tekstje</a:t>
            </a:r>
          </a:p>
        </p:txBody>
      </p:sp>
      <p:grpSp>
        <p:nvGrpSpPr>
          <p:cNvPr id="56" name="Groep 55">
            <a:extLst>
              <a:ext uri="{FF2B5EF4-FFF2-40B4-BE49-F238E27FC236}">
                <a16:creationId xmlns="" xmlns:a16="http://schemas.microsoft.com/office/drawing/2014/main" id="{8B1C1516-95DA-4AA1-B21E-B1735EEBAE22}"/>
              </a:ext>
            </a:extLst>
          </p:cNvPr>
          <p:cNvGrpSpPr>
            <a:grpSpLocks noChangeAspect="1"/>
          </p:cNvGrpSpPr>
          <p:nvPr userDrawn="1"/>
        </p:nvGrpSpPr>
        <p:grpSpPr>
          <a:xfrm>
            <a:off x="6677713" y="5217444"/>
            <a:ext cx="481275" cy="482400"/>
            <a:chOff x="2728" y="3646786"/>
            <a:chExt cx="2038350" cy="2043113"/>
          </a:xfrm>
        </p:grpSpPr>
        <p:sp>
          <p:nvSpPr>
            <p:cNvPr id="57" name="Freeform 36">
              <a:extLst>
                <a:ext uri="{FF2B5EF4-FFF2-40B4-BE49-F238E27FC236}">
                  <a16:creationId xmlns="" xmlns:a16="http://schemas.microsoft.com/office/drawing/2014/main" id="{AA69B246-6825-4E74-AABA-4C59B9F6292E}"/>
                </a:ext>
              </a:extLst>
            </p:cNvPr>
            <p:cNvSpPr>
              <a:spLocks/>
            </p:cNvSpPr>
            <p:nvPr userDrawn="1"/>
          </p:nvSpPr>
          <p:spPr bwMode="auto">
            <a:xfrm>
              <a:off x="2728" y="3646786"/>
              <a:ext cx="2038350" cy="2043113"/>
            </a:xfrm>
            <a:custGeom>
              <a:avLst/>
              <a:gdLst>
                <a:gd name="T0" fmla="*/ 1284 w 1284"/>
                <a:gd name="T1" fmla="*/ 816 h 1287"/>
                <a:gd name="T2" fmla="*/ 815 w 1284"/>
                <a:gd name="T3" fmla="*/ 1287 h 1287"/>
                <a:gd name="T4" fmla="*/ 172 w 1284"/>
                <a:gd name="T5" fmla="*/ 1115 h 1287"/>
                <a:gd name="T6" fmla="*/ 0 w 1284"/>
                <a:gd name="T7" fmla="*/ 471 h 1287"/>
                <a:gd name="T8" fmla="*/ 472 w 1284"/>
                <a:gd name="T9" fmla="*/ 0 h 1287"/>
                <a:gd name="T10" fmla="*/ 1113 w 1284"/>
                <a:gd name="T11" fmla="*/ 174 h 1287"/>
                <a:gd name="T12" fmla="*/ 1284 w 1284"/>
                <a:gd name="T13" fmla="*/ 816 h 1287"/>
              </a:gdLst>
              <a:ahLst/>
              <a:cxnLst>
                <a:cxn ang="0">
                  <a:pos x="T0" y="T1"/>
                </a:cxn>
                <a:cxn ang="0">
                  <a:pos x="T2" y="T3"/>
                </a:cxn>
                <a:cxn ang="0">
                  <a:pos x="T4" y="T5"/>
                </a:cxn>
                <a:cxn ang="0">
                  <a:pos x="T6" y="T7"/>
                </a:cxn>
                <a:cxn ang="0">
                  <a:pos x="T8" y="T9"/>
                </a:cxn>
                <a:cxn ang="0">
                  <a:pos x="T10" y="T11"/>
                </a:cxn>
                <a:cxn ang="0">
                  <a:pos x="T12" y="T13"/>
                </a:cxn>
              </a:cxnLst>
              <a:rect l="0" t="0" r="r" b="b"/>
              <a:pathLst>
                <a:path w="1284" h="1287">
                  <a:moveTo>
                    <a:pt x="1284" y="816"/>
                  </a:moveTo>
                  <a:lnTo>
                    <a:pt x="815" y="1287"/>
                  </a:lnTo>
                  <a:lnTo>
                    <a:pt x="172" y="1115"/>
                  </a:lnTo>
                  <a:lnTo>
                    <a:pt x="0" y="471"/>
                  </a:lnTo>
                  <a:lnTo>
                    <a:pt x="472" y="0"/>
                  </a:lnTo>
                  <a:lnTo>
                    <a:pt x="1113" y="174"/>
                  </a:lnTo>
                  <a:lnTo>
                    <a:pt x="1284" y="816"/>
                  </a:lnTo>
                  <a:close/>
                </a:path>
              </a:pathLst>
            </a:custGeom>
            <a:solidFill>
              <a:srgbClr val="EB3300"/>
            </a:solidFill>
            <a:ln>
              <a:noFill/>
            </a:ln>
          </p:spPr>
          <p:txBody>
            <a:bodyPr vert="horz" wrap="square" lIns="91440" tIns="45720" rIns="91440" bIns="45720" numCol="1" anchor="t" anchorCtr="0" compatLnSpc="1">
              <a:prstTxWarp prst="textNoShape">
                <a:avLst/>
              </a:prstTxWarp>
            </a:bodyPr>
            <a:lstStyle/>
            <a:p>
              <a:endParaRPr lang="nl-NL"/>
            </a:p>
          </p:txBody>
        </p:sp>
        <p:sp>
          <p:nvSpPr>
            <p:cNvPr id="58" name="Freeform 49">
              <a:extLst>
                <a:ext uri="{FF2B5EF4-FFF2-40B4-BE49-F238E27FC236}">
                  <a16:creationId xmlns="" xmlns:a16="http://schemas.microsoft.com/office/drawing/2014/main" id="{4830A479-30AB-473F-BFE2-F993163DAACC}"/>
                </a:ext>
              </a:extLst>
            </p:cNvPr>
            <p:cNvSpPr>
              <a:spLocks/>
            </p:cNvSpPr>
            <p:nvPr userDrawn="1"/>
          </p:nvSpPr>
          <p:spPr bwMode="auto">
            <a:xfrm>
              <a:off x="774025" y="4257170"/>
              <a:ext cx="433154" cy="838202"/>
            </a:xfrm>
            <a:custGeom>
              <a:avLst/>
              <a:gdLst>
                <a:gd name="T0" fmla="*/ 131 w 601"/>
                <a:gd name="T1" fmla="*/ 1163 h 1163"/>
                <a:gd name="T2" fmla="*/ 0 w 601"/>
                <a:gd name="T3" fmla="*/ 1056 h 1163"/>
                <a:gd name="T4" fmla="*/ 353 w 601"/>
                <a:gd name="T5" fmla="*/ 580 h 1163"/>
                <a:gd name="T6" fmla="*/ 0 w 601"/>
                <a:gd name="T7" fmla="*/ 105 h 1163"/>
                <a:gd name="T8" fmla="*/ 131 w 601"/>
                <a:gd name="T9" fmla="*/ 0 h 1163"/>
                <a:gd name="T10" fmla="*/ 601 w 601"/>
                <a:gd name="T11" fmla="*/ 580 h 1163"/>
                <a:gd name="T12" fmla="*/ 131 w 601"/>
                <a:gd name="T13" fmla="*/ 1163 h 1163"/>
              </a:gdLst>
              <a:ahLst/>
              <a:cxnLst>
                <a:cxn ang="0">
                  <a:pos x="T0" y="T1"/>
                </a:cxn>
                <a:cxn ang="0">
                  <a:pos x="T2" y="T3"/>
                </a:cxn>
                <a:cxn ang="0">
                  <a:pos x="T4" y="T5"/>
                </a:cxn>
                <a:cxn ang="0">
                  <a:pos x="T6" y="T7"/>
                </a:cxn>
                <a:cxn ang="0">
                  <a:pos x="T8" y="T9"/>
                </a:cxn>
                <a:cxn ang="0">
                  <a:pos x="T10" y="T11"/>
                </a:cxn>
                <a:cxn ang="0">
                  <a:pos x="T12" y="T13"/>
                </a:cxn>
              </a:cxnLst>
              <a:rect l="0" t="0" r="r" b="b"/>
              <a:pathLst>
                <a:path w="601" h="1163">
                  <a:moveTo>
                    <a:pt x="131" y="1163"/>
                  </a:moveTo>
                  <a:lnTo>
                    <a:pt x="0" y="1056"/>
                  </a:lnTo>
                  <a:lnTo>
                    <a:pt x="353" y="580"/>
                  </a:lnTo>
                  <a:lnTo>
                    <a:pt x="0" y="105"/>
                  </a:lnTo>
                  <a:lnTo>
                    <a:pt x="131" y="0"/>
                  </a:lnTo>
                  <a:lnTo>
                    <a:pt x="601" y="580"/>
                  </a:lnTo>
                  <a:lnTo>
                    <a:pt x="131" y="116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nl-NL"/>
            </a:p>
          </p:txBody>
        </p:sp>
      </p:grpSp>
      <p:grpSp>
        <p:nvGrpSpPr>
          <p:cNvPr id="59" name="Groep 58">
            <a:extLst>
              <a:ext uri="{FF2B5EF4-FFF2-40B4-BE49-F238E27FC236}">
                <a16:creationId xmlns="" xmlns:a16="http://schemas.microsoft.com/office/drawing/2014/main" id="{9B774528-EFFA-49B7-BE47-28E072E037FC}"/>
              </a:ext>
            </a:extLst>
          </p:cNvPr>
          <p:cNvGrpSpPr>
            <a:grpSpLocks noChangeAspect="1"/>
          </p:cNvGrpSpPr>
          <p:nvPr userDrawn="1"/>
        </p:nvGrpSpPr>
        <p:grpSpPr>
          <a:xfrm>
            <a:off x="6988863" y="1420144"/>
            <a:ext cx="481275" cy="482400"/>
            <a:chOff x="2728" y="3646786"/>
            <a:chExt cx="2038350" cy="2043113"/>
          </a:xfrm>
        </p:grpSpPr>
        <p:sp>
          <p:nvSpPr>
            <p:cNvPr id="60" name="Freeform 36">
              <a:extLst>
                <a:ext uri="{FF2B5EF4-FFF2-40B4-BE49-F238E27FC236}">
                  <a16:creationId xmlns="" xmlns:a16="http://schemas.microsoft.com/office/drawing/2014/main" id="{97896EA6-4A95-46E4-B0E2-56B242044AE5}"/>
                </a:ext>
              </a:extLst>
            </p:cNvPr>
            <p:cNvSpPr>
              <a:spLocks/>
            </p:cNvSpPr>
            <p:nvPr userDrawn="1"/>
          </p:nvSpPr>
          <p:spPr bwMode="auto">
            <a:xfrm>
              <a:off x="2728" y="3646786"/>
              <a:ext cx="2038350" cy="2043113"/>
            </a:xfrm>
            <a:custGeom>
              <a:avLst/>
              <a:gdLst>
                <a:gd name="T0" fmla="*/ 1284 w 1284"/>
                <a:gd name="T1" fmla="*/ 816 h 1287"/>
                <a:gd name="T2" fmla="*/ 815 w 1284"/>
                <a:gd name="T3" fmla="*/ 1287 h 1287"/>
                <a:gd name="T4" fmla="*/ 172 w 1284"/>
                <a:gd name="T5" fmla="*/ 1115 h 1287"/>
                <a:gd name="T6" fmla="*/ 0 w 1284"/>
                <a:gd name="T7" fmla="*/ 471 h 1287"/>
                <a:gd name="T8" fmla="*/ 472 w 1284"/>
                <a:gd name="T9" fmla="*/ 0 h 1287"/>
                <a:gd name="T10" fmla="*/ 1113 w 1284"/>
                <a:gd name="T11" fmla="*/ 174 h 1287"/>
                <a:gd name="T12" fmla="*/ 1284 w 1284"/>
                <a:gd name="T13" fmla="*/ 816 h 1287"/>
              </a:gdLst>
              <a:ahLst/>
              <a:cxnLst>
                <a:cxn ang="0">
                  <a:pos x="T0" y="T1"/>
                </a:cxn>
                <a:cxn ang="0">
                  <a:pos x="T2" y="T3"/>
                </a:cxn>
                <a:cxn ang="0">
                  <a:pos x="T4" y="T5"/>
                </a:cxn>
                <a:cxn ang="0">
                  <a:pos x="T6" y="T7"/>
                </a:cxn>
                <a:cxn ang="0">
                  <a:pos x="T8" y="T9"/>
                </a:cxn>
                <a:cxn ang="0">
                  <a:pos x="T10" y="T11"/>
                </a:cxn>
                <a:cxn ang="0">
                  <a:pos x="T12" y="T13"/>
                </a:cxn>
              </a:cxnLst>
              <a:rect l="0" t="0" r="r" b="b"/>
              <a:pathLst>
                <a:path w="1284" h="1287">
                  <a:moveTo>
                    <a:pt x="1284" y="816"/>
                  </a:moveTo>
                  <a:lnTo>
                    <a:pt x="815" y="1287"/>
                  </a:lnTo>
                  <a:lnTo>
                    <a:pt x="172" y="1115"/>
                  </a:lnTo>
                  <a:lnTo>
                    <a:pt x="0" y="471"/>
                  </a:lnTo>
                  <a:lnTo>
                    <a:pt x="472" y="0"/>
                  </a:lnTo>
                  <a:lnTo>
                    <a:pt x="1113" y="174"/>
                  </a:lnTo>
                  <a:lnTo>
                    <a:pt x="1284" y="816"/>
                  </a:lnTo>
                  <a:close/>
                </a:path>
              </a:pathLst>
            </a:custGeom>
            <a:solidFill>
              <a:srgbClr val="EF60A3"/>
            </a:solidFill>
            <a:ln>
              <a:noFill/>
            </a:ln>
          </p:spPr>
          <p:txBody>
            <a:bodyPr vert="horz" wrap="square" lIns="91440" tIns="45720" rIns="91440" bIns="45720" numCol="1" anchor="t" anchorCtr="0" compatLnSpc="1">
              <a:prstTxWarp prst="textNoShape">
                <a:avLst/>
              </a:prstTxWarp>
            </a:bodyPr>
            <a:lstStyle/>
            <a:p>
              <a:endParaRPr lang="nl-NL"/>
            </a:p>
          </p:txBody>
        </p:sp>
        <p:sp>
          <p:nvSpPr>
            <p:cNvPr id="61" name="Freeform 49">
              <a:extLst>
                <a:ext uri="{FF2B5EF4-FFF2-40B4-BE49-F238E27FC236}">
                  <a16:creationId xmlns="" xmlns:a16="http://schemas.microsoft.com/office/drawing/2014/main" id="{558E6BEC-81BF-45C8-A619-51C19BAF42D5}"/>
                </a:ext>
              </a:extLst>
            </p:cNvPr>
            <p:cNvSpPr>
              <a:spLocks/>
            </p:cNvSpPr>
            <p:nvPr userDrawn="1"/>
          </p:nvSpPr>
          <p:spPr bwMode="auto">
            <a:xfrm>
              <a:off x="774025" y="4257170"/>
              <a:ext cx="433154" cy="838202"/>
            </a:xfrm>
            <a:custGeom>
              <a:avLst/>
              <a:gdLst>
                <a:gd name="T0" fmla="*/ 131 w 601"/>
                <a:gd name="T1" fmla="*/ 1163 h 1163"/>
                <a:gd name="T2" fmla="*/ 0 w 601"/>
                <a:gd name="T3" fmla="*/ 1056 h 1163"/>
                <a:gd name="T4" fmla="*/ 353 w 601"/>
                <a:gd name="T5" fmla="*/ 580 h 1163"/>
                <a:gd name="T6" fmla="*/ 0 w 601"/>
                <a:gd name="T7" fmla="*/ 105 h 1163"/>
                <a:gd name="T8" fmla="*/ 131 w 601"/>
                <a:gd name="T9" fmla="*/ 0 h 1163"/>
                <a:gd name="T10" fmla="*/ 601 w 601"/>
                <a:gd name="T11" fmla="*/ 580 h 1163"/>
                <a:gd name="T12" fmla="*/ 131 w 601"/>
                <a:gd name="T13" fmla="*/ 1163 h 1163"/>
              </a:gdLst>
              <a:ahLst/>
              <a:cxnLst>
                <a:cxn ang="0">
                  <a:pos x="T0" y="T1"/>
                </a:cxn>
                <a:cxn ang="0">
                  <a:pos x="T2" y="T3"/>
                </a:cxn>
                <a:cxn ang="0">
                  <a:pos x="T4" y="T5"/>
                </a:cxn>
                <a:cxn ang="0">
                  <a:pos x="T6" y="T7"/>
                </a:cxn>
                <a:cxn ang="0">
                  <a:pos x="T8" y="T9"/>
                </a:cxn>
                <a:cxn ang="0">
                  <a:pos x="T10" y="T11"/>
                </a:cxn>
                <a:cxn ang="0">
                  <a:pos x="T12" y="T13"/>
                </a:cxn>
              </a:cxnLst>
              <a:rect l="0" t="0" r="r" b="b"/>
              <a:pathLst>
                <a:path w="601" h="1163">
                  <a:moveTo>
                    <a:pt x="131" y="1163"/>
                  </a:moveTo>
                  <a:lnTo>
                    <a:pt x="0" y="1056"/>
                  </a:lnTo>
                  <a:lnTo>
                    <a:pt x="353" y="580"/>
                  </a:lnTo>
                  <a:lnTo>
                    <a:pt x="0" y="105"/>
                  </a:lnTo>
                  <a:lnTo>
                    <a:pt x="131" y="0"/>
                  </a:lnTo>
                  <a:lnTo>
                    <a:pt x="601" y="580"/>
                  </a:lnTo>
                  <a:lnTo>
                    <a:pt x="131" y="116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nl-NL"/>
            </a:p>
          </p:txBody>
        </p:sp>
      </p:grpSp>
    </p:spTree>
    <p:extLst>
      <p:ext uri="{BB962C8B-B14F-4D97-AF65-F5344CB8AC3E}">
        <p14:creationId xmlns:p14="http://schemas.microsoft.com/office/powerpoint/2010/main" val="25061201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afiek of tabel">
    <p:spTree>
      <p:nvGrpSpPr>
        <p:cNvPr id="1" name=""/>
        <p:cNvGrpSpPr/>
        <p:nvPr/>
      </p:nvGrpSpPr>
      <p:grpSpPr>
        <a:xfrm>
          <a:off x="0" y="0"/>
          <a:ext cx="0" cy="0"/>
          <a:chOff x="0" y="0"/>
          <a:chExt cx="0" cy="0"/>
        </a:xfrm>
      </p:grpSpPr>
      <p:graphicFrame>
        <p:nvGraphicFramePr>
          <p:cNvPr id="7" name="Object 6" hidden="1">
            <a:extLst>
              <a:ext uri="{FF2B5EF4-FFF2-40B4-BE49-F238E27FC236}">
                <a16:creationId xmlns="" xmlns:a16="http://schemas.microsoft.com/office/drawing/2014/main" id="{0A27CFD0-E57E-40F9-BE1F-0E3D7DDEF690}"/>
              </a:ext>
            </a:extLst>
          </p:cNvPr>
          <p:cNvGraphicFramePr>
            <a:graphicFrameLocks noChangeAspect="1"/>
          </p:cNvGraphicFramePr>
          <p:nvPr userDrawn="1">
            <p:custDataLst>
              <p:tags r:id="rId2"/>
            </p:custDataLst>
            <p:extLst>
              <p:ext uri="{D42A27DB-BD31-4B8C-83A1-F6EECF244321}">
                <p14:modId xmlns:p14="http://schemas.microsoft.com/office/powerpoint/2010/main" val="1477858186"/>
              </p:ext>
            </p:extLst>
          </p:nvPr>
        </p:nvGraphicFramePr>
        <p:xfrm>
          <a:off x="2118" y="1589"/>
          <a:ext cx="2117" cy="1588"/>
        </p:xfrm>
        <a:graphic>
          <a:graphicData uri="http://schemas.openxmlformats.org/presentationml/2006/ole">
            <mc:AlternateContent xmlns:mc="http://schemas.openxmlformats.org/markup-compatibility/2006">
              <mc:Choice xmlns:v="urn:schemas-microsoft-com:vml" Requires="v">
                <p:oleObj spid="_x0000_s21583" name="think-cell Slide" r:id="rId5" imgW="338" imgH="337" progId="TCLayout.ActiveDocument.1">
                  <p:embed/>
                </p:oleObj>
              </mc:Choice>
              <mc:Fallback>
                <p:oleObj name="think-cell Slide" r:id="rId5" imgW="338" imgH="337" progId="TCLayout.ActiveDocument.1">
                  <p:embed/>
                  <p:pic>
                    <p:nvPicPr>
                      <p:cNvPr id="7" name="Object 6" hidden="1">
                        <a:extLst>
                          <a:ext uri="{FF2B5EF4-FFF2-40B4-BE49-F238E27FC236}">
                            <a16:creationId xmlns="" xmlns:a16="http://schemas.microsoft.com/office/drawing/2014/main" id="{0A27CFD0-E57E-40F9-BE1F-0E3D7DDEF690}"/>
                          </a:ext>
                        </a:extLst>
                      </p:cNvPr>
                      <p:cNvPicPr/>
                      <p:nvPr/>
                    </p:nvPicPr>
                    <p:blipFill>
                      <a:blip r:embed="rId6"/>
                      <a:stretch>
                        <a:fillRect/>
                      </a:stretch>
                    </p:blipFill>
                    <p:spPr>
                      <a:xfrm>
                        <a:off x="2118" y="1589"/>
                        <a:ext cx="2117" cy="1588"/>
                      </a:xfrm>
                      <a:prstGeom prst="rect">
                        <a:avLst/>
                      </a:prstGeom>
                    </p:spPr>
                  </p:pic>
                </p:oleObj>
              </mc:Fallback>
            </mc:AlternateContent>
          </a:graphicData>
        </a:graphic>
      </p:graphicFrame>
      <p:sp>
        <p:nvSpPr>
          <p:cNvPr id="6" name="Rechthoek 5" hidden="1">
            <a:extLst>
              <a:ext uri="{FF2B5EF4-FFF2-40B4-BE49-F238E27FC236}">
                <a16:creationId xmlns="" xmlns:a16="http://schemas.microsoft.com/office/drawing/2014/main" id="{C4805D77-1012-42AE-905C-1828F5FA549F}"/>
              </a:ext>
            </a:extLst>
          </p:cNvPr>
          <p:cNvSpPr/>
          <p:nvPr userDrawn="1">
            <p:custDataLst>
              <p:tags r:id="rId3"/>
            </p:custDataLst>
          </p:nvPr>
        </p:nvSpPr>
        <p:spPr>
          <a:xfrm>
            <a:off x="0" y="1"/>
            <a:ext cx="211667"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nl-NL" sz="3600" b="1"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nl-NL" smtClean="0"/>
              <a:t>Klik om de stijl te bewerken</a:t>
            </a:r>
            <a:endParaRPr lang="en-US" dirty="0"/>
          </a:p>
        </p:txBody>
      </p:sp>
      <p:sp>
        <p:nvSpPr>
          <p:cNvPr id="5" name="Slide Number Placeholder 4"/>
          <p:cNvSpPr>
            <a:spLocks noGrp="1"/>
          </p:cNvSpPr>
          <p:nvPr>
            <p:ph type="sldNum" sz="quarter" idx="12"/>
          </p:nvPr>
        </p:nvSpPr>
        <p:spPr/>
        <p:txBody>
          <a:bodyPr/>
          <a:lstStyle/>
          <a:p>
            <a:fld id="{4D317D64-8544-4CC7-AF15-ED4E6224A2A5}" type="slidenum">
              <a:rPr lang="nl-NL" smtClean="0"/>
              <a:t>‹nr.›</a:t>
            </a:fld>
            <a:endParaRPr lang="nl-NL"/>
          </a:p>
        </p:txBody>
      </p:sp>
      <p:sp>
        <p:nvSpPr>
          <p:cNvPr id="4" name="Tijdelijke aanduiding voor tekst 3">
            <a:extLst>
              <a:ext uri="{FF2B5EF4-FFF2-40B4-BE49-F238E27FC236}">
                <a16:creationId xmlns="" xmlns:a16="http://schemas.microsoft.com/office/drawing/2014/main" id="{5D3E72DE-4920-40F9-BCF5-FFDDD396FF33}"/>
              </a:ext>
            </a:extLst>
          </p:cNvPr>
          <p:cNvSpPr>
            <a:spLocks noGrp="1"/>
          </p:cNvSpPr>
          <p:nvPr>
            <p:ph type="body" sz="quarter" idx="13" hasCustomPrompt="1"/>
          </p:nvPr>
        </p:nvSpPr>
        <p:spPr>
          <a:xfrm>
            <a:off x="958853" y="1987914"/>
            <a:ext cx="10274300" cy="436701"/>
          </a:xfrm>
        </p:spPr>
        <p:txBody>
          <a:bodyPr anchor="b" anchorCtr="0">
            <a:spAutoFit/>
          </a:bodyPr>
          <a:lstStyle>
            <a:lvl1pPr marL="0" indent="0">
              <a:buNone/>
              <a:defRPr b="1"/>
            </a:lvl1pPr>
          </a:lstStyle>
          <a:p>
            <a:pPr lvl="0"/>
            <a:r>
              <a:rPr lang="nl-NL" dirty="0"/>
              <a:t>Titel van de tabel of grafiek</a:t>
            </a:r>
          </a:p>
        </p:txBody>
      </p:sp>
      <p:sp>
        <p:nvSpPr>
          <p:cNvPr id="11" name="Tijdelijke aanduiding voor inhoud 10">
            <a:extLst>
              <a:ext uri="{FF2B5EF4-FFF2-40B4-BE49-F238E27FC236}">
                <a16:creationId xmlns="" xmlns:a16="http://schemas.microsoft.com/office/drawing/2014/main" id="{28596D83-16E5-4094-B539-F41AF35AFA1C}"/>
              </a:ext>
            </a:extLst>
          </p:cNvPr>
          <p:cNvSpPr>
            <a:spLocks noGrp="1"/>
          </p:cNvSpPr>
          <p:nvPr>
            <p:ph sz="quarter" idx="14" hasCustomPrompt="1"/>
          </p:nvPr>
        </p:nvSpPr>
        <p:spPr>
          <a:xfrm>
            <a:off x="958853" y="2528888"/>
            <a:ext cx="10274300" cy="3205163"/>
          </a:xfrm>
        </p:spPr>
        <p:txBody>
          <a:bodyPr bIns="1008000" anchor="ctr" anchorCtr="0">
            <a:normAutofit/>
          </a:bodyPr>
          <a:lstStyle>
            <a:lvl1pPr marL="0" indent="0" algn="ctr">
              <a:buNone/>
              <a:defRPr sz="1600">
                <a:solidFill>
                  <a:schemeClr val="tx1"/>
                </a:solidFill>
              </a:defRPr>
            </a:lvl1pPr>
          </a:lstStyle>
          <a:p>
            <a:pPr lvl="0"/>
            <a:r>
              <a:rPr lang="nl-NL" dirty="0"/>
              <a:t>Klik op het icoon om een tabel of een grafiek in te voegen</a:t>
            </a:r>
          </a:p>
        </p:txBody>
      </p:sp>
    </p:spTree>
    <p:extLst>
      <p:ext uri="{BB962C8B-B14F-4D97-AF65-F5344CB8AC3E}">
        <p14:creationId xmlns:p14="http://schemas.microsoft.com/office/powerpoint/2010/main" val="19410065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image" Target="../media/image2.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image" Target="../media/image4.png"/><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3DF9D3CD-3ADD-4CE1-A88C-8B08D77AFA21}"/>
              </a:ext>
            </a:extLst>
          </p:cNvPr>
          <p:cNvGraphicFramePr>
            <a:graphicFrameLocks noChangeAspect="1"/>
          </p:cNvGraphicFramePr>
          <p:nvPr>
            <p:custDataLst>
              <p:tags r:id="rId17"/>
            </p:custDataLst>
            <p:extLst>
              <p:ext uri="{D42A27DB-BD31-4B8C-83A1-F6EECF244321}">
                <p14:modId xmlns:p14="http://schemas.microsoft.com/office/powerpoint/2010/main" val="584818328"/>
              </p:ext>
            </p:extLst>
          </p:nvPr>
        </p:nvGraphicFramePr>
        <p:xfrm>
          <a:off x="2118" y="1589"/>
          <a:ext cx="2117" cy="1588"/>
        </p:xfrm>
        <a:graphic>
          <a:graphicData uri="http://schemas.openxmlformats.org/presentationml/2006/ole">
            <mc:AlternateContent xmlns:mc="http://schemas.openxmlformats.org/markup-compatibility/2006">
              <mc:Choice xmlns:v="urn:schemas-microsoft-com:vml" Requires="v">
                <p:oleObj spid="_x0000_s2144" name="think-cell Slide" r:id="rId19" imgW="338" imgH="337" progId="TCLayout.ActiveDocument.1">
                  <p:embed/>
                </p:oleObj>
              </mc:Choice>
              <mc:Fallback>
                <p:oleObj name="think-cell Slide" r:id="rId19" imgW="338" imgH="337" progId="TCLayout.ActiveDocument.1">
                  <p:embed/>
                  <p:pic>
                    <p:nvPicPr>
                      <p:cNvPr id="0" name=""/>
                      <p:cNvPicPr/>
                      <p:nvPr/>
                    </p:nvPicPr>
                    <p:blipFill>
                      <a:blip r:embed="rId20"/>
                      <a:stretch>
                        <a:fillRect/>
                      </a:stretch>
                    </p:blipFill>
                    <p:spPr>
                      <a:xfrm>
                        <a:off x="2118" y="1589"/>
                        <a:ext cx="2117" cy="1588"/>
                      </a:xfrm>
                      <a:prstGeom prst="rect">
                        <a:avLst/>
                      </a:prstGeom>
                    </p:spPr>
                  </p:pic>
                </p:oleObj>
              </mc:Fallback>
            </mc:AlternateContent>
          </a:graphicData>
        </a:graphic>
      </p:graphicFrame>
      <p:sp>
        <p:nvSpPr>
          <p:cNvPr id="7" name="Rechthoek 6" hidden="1">
            <a:extLst>
              <a:ext uri="{FF2B5EF4-FFF2-40B4-BE49-F238E27FC236}">
                <a16:creationId xmlns="" xmlns:a16="http://schemas.microsoft.com/office/drawing/2014/main" id="{22A19F5F-E119-4C09-86AF-E2137D17F342}"/>
              </a:ext>
            </a:extLst>
          </p:cNvPr>
          <p:cNvSpPr/>
          <p:nvPr>
            <p:custDataLst>
              <p:tags r:id="rId18"/>
            </p:custDataLst>
          </p:nvPr>
        </p:nvSpPr>
        <p:spPr>
          <a:xfrm>
            <a:off x="0" y="1"/>
            <a:ext cx="211667"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nl-NL" sz="3600" b="1" i="0" baseline="0" dirty="0">
              <a:latin typeface="Calibri" panose="020F0502020204030204" pitchFamily="34" charset="0"/>
              <a:ea typeface="+mj-ea"/>
              <a:cs typeface="+mj-cs"/>
              <a:sym typeface="Calibri" panose="020F0502020204030204" pitchFamily="34" charset="0"/>
            </a:endParaRPr>
          </a:p>
        </p:txBody>
      </p:sp>
      <p:sp>
        <p:nvSpPr>
          <p:cNvPr id="11" name="Vrije vorm: vorm 10">
            <a:extLst>
              <a:ext uri="{FF2B5EF4-FFF2-40B4-BE49-F238E27FC236}">
                <a16:creationId xmlns="" xmlns:a16="http://schemas.microsoft.com/office/drawing/2014/main" id="{FDEBD689-5320-4263-AF73-D4F8C4EC2958}"/>
              </a:ext>
            </a:extLst>
          </p:cNvPr>
          <p:cNvSpPr>
            <a:spLocks/>
          </p:cNvSpPr>
          <p:nvPr/>
        </p:nvSpPr>
        <p:spPr bwMode="auto">
          <a:xfrm>
            <a:off x="-3176" y="5838996"/>
            <a:ext cx="12196800" cy="1019004"/>
          </a:xfrm>
          <a:custGeom>
            <a:avLst/>
            <a:gdLst>
              <a:gd name="connsiteX0" fmla="*/ 531572 w 12196800"/>
              <a:gd name="connsiteY0" fmla="*/ 684 h 1019004"/>
              <a:gd name="connsiteX1" fmla="*/ 597522 w 12196800"/>
              <a:gd name="connsiteY1" fmla="*/ 9767 h 1019004"/>
              <a:gd name="connsiteX2" fmla="*/ 600701 w 12196800"/>
              <a:gd name="connsiteY2" fmla="*/ 9767 h 1019004"/>
              <a:gd name="connsiteX3" fmla="*/ 937601 w 12196800"/>
              <a:gd name="connsiteY3" fmla="*/ 426961 h 1019004"/>
              <a:gd name="connsiteX4" fmla="*/ 937601 w 12196800"/>
              <a:gd name="connsiteY4" fmla="*/ 462262 h 1019004"/>
              <a:gd name="connsiteX5" fmla="*/ 947136 w 12196800"/>
              <a:gd name="connsiteY5" fmla="*/ 497564 h 1019004"/>
              <a:gd name="connsiteX6" fmla="*/ 1093338 w 12196800"/>
              <a:gd name="connsiteY6" fmla="*/ 548911 h 1019004"/>
              <a:gd name="connsiteX7" fmla="*/ 1134656 w 12196800"/>
              <a:gd name="connsiteY7" fmla="*/ 516819 h 1019004"/>
              <a:gd name="connsiteX8" fmla="*/ 1150548 w 12196800"/>
              <a:gd name="connsiteY8" fmla="*/ 487936 h 1019004"/>
              <a:gd name="connsiteX9" fmla="*/ 1525588 w 12196800"/>
              <a:gd name="connsiteY9" fmla="*/ 276129 h 1019004"/>
              <a:gd name="connsiteX10" fmla="*/ 5615335 w 12196800"/>
              <a:gd name="connsiteY10" fmla="*/ 276129 h 1019004"/>
              <a:gd name="connsiteX11" fmla="*/ 5840449 w 12196800"/>
              <a:gd name="connsiteY11" fmla="*/ 276129 h 1019004"/>
              <a:gd name="connsiteX12" fmla="*/ 5840449 w 12196800"/>
              <a:gd name="connsiteY12" fmla="*/ 276053 h 1019004"/>
              <a:gd name="connsiteX13" fmla="*/ 12195175 w 12196800"/>
              <a:gd name="connsiteY13" fmla="*/ 276053 h 1019004"/>
              <a:gd name="connsiteX14" fmla="*/ 12195175 w 12196800"/>
              <a:gd name="connsiteY14" fmla="*/ 866604 h 1019004"/>
              <a:gd name="connsiteX15" fmla="*/ 12196800 w 12196800"/>
              <a:gd name="connsiteY15" fmla="*/ 866604 h 1019004"/>
              <a:gd name="connsiteX16" fmla="*/ 12196800 w 12196800"/>
              <a:gd name="connsiteY16" fmla="*/ 1019004 h 1019004"/>
              <a:gd name="connsiteX17" fmla="*/ 12195175 w 12196800"/>
              <a:gd name="connsiteY17" fmla="*/ 1019004 h 1019004"/>
              <a:gd name="connsiteX18" fmla="*/ 0 w 12196800"/>
              <a:gd name="connsiteY18" fmla="*/ 1019004 h 1019004"/>
              <a:gd name="connsiteX19" fmla="*/ 0 w 12196800"/>
              <a:gd name="connsiteY19" fmla="*/ 1014243 h 1019004"/>
              <a:gd name="connsiteX20" fmla="*/ 0 w 12196800"/>
              <a:gd name="connsiteY20" fmla="*/ 866604 h 1019004"/>
              <a:gd name="connsiteX21" fmla="*/ 0 w 12196800"/>
              <a:gd name="connsiteY21" fmla="*/ 282548 h 1019004"/>
              <a:gd name="connsiteX22" fmla="*/ 31783 w 12196800"/>
              <a:gd name="connsiteY22" fmla="*/ 282548 h 1019004"/>
              <a:gd name="connsiteX23" fmla="*/ 88993 w 12196800"/>
              <a:gd name="connsiteY23" fmla="*/ 266502 h 1019004"/>
              <a:gd name="connsiteX24" fmla="*/ 130311 w 12196800"/>
              <a:gd name="connsiteY24" fmla="*/ 227992 h 1019004"/>
              <a:gd name="connsiteX25" fmla="*/ 136667 w 12196800"/>
              <a:gd name="connsiteY25" fmla="*/ 211946 h 1019004"/>
              <a:gd name="connsiteX26" fmla="*/ 531572 w 12196800"/>
              <a:gd name="connsiteY26" fmla="*/ 684 h 1019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196800" h="1019004">
                <a:moveTo>
                  <a:pt x="531572" y="684"/>
                </a:moveTo>
                <a:cubicBezTo>
                  <a:pt x="553622" y="1944"/>
                  <a:pt x="575671" y="4953"/>
                  <a:pt x="597522" y="9767"/>
                </a:cubicBezTo>
                <a:lnTo>
                  <a:pt x="600701" y="9767"/>
                </a:lnTo>
                <a:cubicBezTo>
                  <a:pt x="791399" y="51486"/>
                  <a:pt x="937601" y="224782"/>
                  <a:pt x="937601" y="426961"/>
                </a:cubicBezTo>
                <a:lnTo>
                  <a:pt x="937601" y="462262"/>
                </a:lnTo>
                <a:cubicBezTo>
                  <a:pt x="937601" y="471890"/>
                  <a:pt x="940780" y="484727"/>
                  <a:pt x="947136" y="497564"/>
                </a:cubicBezTo>
                <a:cubicBezTo>
                  <a:pt x="972563" y="552120"/>
                  <a:pt x="1039307" y="577793"/>
                  <a:pt x="1093338" y="548911"/>
                </a:cubicBezTo>
                <a:cubicBezTo>
                  <a:pt x="1109230" y="542492"/>
                  <a:pt x="1125121" y="529655"/>
                  <a:pt x="1134656" y="516819"/>
                </a:cubicBezTo>
                <a:lnTo>
                  <a:pt x="1150548" y="487936"/>
                </a:lnTo>
                <a:cubicBezTo>
                  <a:pt x="1230006" y="349941"/>
                  <a:pt x="1376208" y="276129"/>
                  <a:pt x="1525588" y="276129"/>
                </a:cubicBezTo>
                <a:lnTo>
                  <a:pt x="5615335" y="276129"/>
                </a:lnTo>
                <a:lnTo>
                  <a:pt x="5840449" y="276129"/>
                </a:lnTo>
                <a:lnTo>
                  <a:pt x="5840449" y="276053"/>
                </a:lnTo>
                <a:lnTo>
                  <a:pt x="12195175" y="276053"/>
                </a:lnTo>
                <a:lnTo>
                  <a:pt x="12195175" y="866604"/>
                </a:lnTo>
                <a:lnTo>
                  <a:pt x="12196800" y="866604"/>
                </a:lnTo>
                <a:lnTo>
                  <a:pt x="12196800" y="1019004"/>
                </a:lnTo>
                <a:lnTo>
                  <a:pt x="12195175" y="1019004"/>
                </a:lnTo>
                <a:lnTo>
                  <a:pt x="0" y="1019004"/>
                </a:lnTo>
                <a:lnTo>
                  <a:pt x="0" y="1014243"/>
                </a:lnTo>
                <a:lnTo>
                  <a:pt x="0" y="866604"/>
                </a:lnTo>
                <a:lnTo>
                  <a:pt x="0" y="282548"/>
                </a:lnTo>
                <a:lnTo>
                  <a:pt x="31783" y="282548"/>
                </a:lnTo>
                <a:cubicBezTo>
                  <a:pt x="50853" y="282548"/>
                  <a:pt x="69923" y="276129"/>
                  <a:pt x="88993" y="266502"/>
                </a:cubicBezTo>
                <a:cubicBezTo>
                  <a:pt x="104884" y="256874"/>
                  <a:pt x="120776" y="244037"/>
                  <a:pt x="130311" y="227992"/>
                </a:cubicBezTo>
                <a:lnTo>
                  <a:pt x="136667" y="211946"/>
                </a:lnTo>
                <a:cubicBezTo>
                  <a:pt x="222879" y="68735"/>
                  <a:pt x="377226" y="-8135"/>
                  <a:pt x="531572" y="684"/>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noAutofit/>
          </a:bodyPr>
          <a:lstStyle/>
          <a:p>
            <a:endParaRPr lang="nl-NL" sz="1800"/>
          </a:p>
        </p:txBody>
      </p:sp>
      <p:sp>
        <p:nvSpPr>
          <p:cNvPr id="2" name="Title Placeholder 1"/>
          <p:cNvSpPr>
            <a:spLocks noGrp="1"/>
          </p:cNvSpPr>
          <p:nvPr>
            <p:ph type="title"/>
          </p:nvPr>
        </p:nvSpPr>
        <p:spPr>
          <a:xfrm>
            <a:off x="958853" y="892176"/>
            <a:ext cx="10274300" cy="498598"/>
          </a:xfrm>
          <a:prstGeom prst="rect">
            <a:avLst/>
          </a:prstGeom>
        </p:spPr>
        <p:txBody>
          <a:bodyPr vert="horz" wrap="square" lIns="0" tIns="0" rIns="0" bIns="0" rtlCol="0" anchor="t" anchorCtr="0">
            <a:spAutoFit/>
          </a:bodyPr>
          <a:lstStyle/>
          <a:p>
            <a:r>
              <a:rPr lang="nl-NL" dirty="0"/>
              <a:t>Klik om stijl te bewerken</a:t>
            </a:r>
            <a:endParaRPr lang="en-US" dirty="0"/>
          </a:p>
        </p:txBody>
      </p:sp>
      <p:sp>
        <p:nvSpPr>
          <p:cNvPr id="3" name="Text Placeholder 2"/>
          <p:cNvSpPr>
            <a:spLocks noGrp="1"/>
          </p:cNvSpPr>
          <p:nvPr>
            <p:ph type="body" idx="1"/>
          </p:nvPr>
        </p:nvSpPr>
        <p:spPr>
          <a:xfrm>
            <a:off x="958853" y="2097088"/>
            <a:ext cx="10274300" cy="3636963"/>
          </a:xfrm>
          <a:prstGeom prst="rect">
            <a:avLst/>
          </a:prstGeom>
        </p:spPr>
        <p:txBody>
          <a:bodyPr vert="horz" lIns="0" tIns="0" rIns="0" bIns="0" rtlCol="0">
            <a:normAutofit/>
          </a:bodyPr>
          <a:lstStyle/>
          <a:p>
            <a:pPr lvl="0"/>
            <a:r>
              <a:rPr lang="nl-NL" dirty="0"/>
              <a:t>Tekststijl van het model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6" name="Slide Number Placeholder 5"/>
          <p:cNvSpPr>
            <a:spLocks noGrp="1"/>
          </p:cNvSpPr>
          <p:nvPr>
            <p:ph type="sldNum" sz="quarter" idx="4"/>
          </p:nvPr>
        </p:nvSpPr>
        <p:spPr>
          <a:xfrm>
            <a:off x="5950704" y="6533239"/>
            <a:ext cx="290592" cy="205121"/>
          </a:xfrm>
          <a:prstGeom prst="rect">
            <a:avLst/>
          </a:prstGeom>
        </p:spPr>
        <p:txBody>
          <a:bodyPr vert="horz" wrap="none" lIns="0" tIns="0" rIns="0" bIns="0" rtlCol="0" anchor="ctr">
            <a:spAutoFit/>
          </a:bodyPr>
          <a:lstStyle>
            <a:lvl1pPr algn="ctr">
              <a:defRPr sz="1333">
                <a:solidFill>
                  <a:schemeClr val="bg1"/>
                </a:solidFill>
              </a:defRPr>
            </a:lvl1pPr>
          </a:lstStyle>
          <a:p>
            <a:fld id="{4D317D64-8544-4CC7-AF15-ED4E6224A2A5}" type="slidenum">
              <a:rPr lang="nl-NL" smtClean="0"/>
              <a:pPr/>
              <a:t>‹nr.›</a:t>
            </a:fld>
            <a:endParaRPr lang="nl-NL" dirty="0"/>
          </a:p>
        </p:txBody>
      </p:sp>
      <p:pic>
        <p:nvPicPr>
          <p:cNvPr id="24" name="Afbeelding 23">
            <a:extLst>
              <a:ext uri="{FF2B5EF4-FFF2-40B4-BE49-F238E27FC236}">
                <a16:creationId xmlns="" xmlns:a16="http://schemas.microsoft.com/office/drawing/2014/main" id="{AAE17575-B63F-4A38-AAA0-163A2FDB5D4B}"/>
              </a:ext>
            </a:extLst>
          </p:cNvPr>
          <p:cNvPicPr>
            <a:picLocks noChangeAspect="1"/>
          </p:cNvPicPr>
          <p:nvPr/>
        </p:nvPicPr>
        <p:blipFill>
          <a:blip r:embed="rId21"/>
          <a:stretch>
            <a:fillRect/>
          </a:stretch>
        </p:blipFill>
        <p:spPr>
          <a:xfrm>
            <a:off x="10803706" y="6262688"/>
            <a:ext cx="858888" cy="450056"/>
          </a:xfrm>
          <a:prstGeom prst="rect">
            <a:avLst/>
          </a:prstGeom>
        </p:spPr>
      </p:pic>
    </p:spTree>
    <p:extLst>
      <p:ext uri="{BB962C8B-B14F-4D97-AF65-F5344CB8AC3E}">
        <p14:creationId xmlns:p14="http://schemas.microsoft.com/office/powerpoint/2010/main" val="4081951689"/>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6" r:id="rId8"/>
    <p:sldLayoutId id="2147483677" r:id="rId9"/>
    <p:sldLayoutId id="2147483675" r:id="rId10"/>
    <p:sldLayoutId id="2147483678" r:id="rId11"/>
    <p:sldLayoutId id="2147483667" r:id="rId12"/>
    <p:sldLayoutId id="2147483679" r:id="rId13"/>
    <p:sldLayoutId id="2147483680" r:id="rId14"/>
  </p:sldLayoutIdLst>
  <p:hf sldNum="0" hdr="0" ftr="0" dt="0"/>
  <p:txStyles>
    <p:titleStyle>
      <a:lvl1pPr algn="l" defTabSz="1219170" rtl="0" eaLnBrk="1" latinLnBrk="0" hangingPunct="1">
        <a:lnSpc>
          <a:spcPct val="90000"/>
        </a:lnSpc>
        <a:spcBef>
          <a:spcPct val="0"/>
        </a:spcBef>
        <a:buNone/>
        <a:defRPr sz="3600" b="1" kern="1200">
          <a:solidFill>
            <a:schemeClr val="accent1"/>
          </a:solidFill>
          <a:latin typeface="+mj-lt"/>
          <a:ea typeface="+mj-ea"/>
          <a:cs typeface="+mj-cs"/>
        </a:defRPr>
      </a:lvl1pPr>
    </p:titleStyle>
    <p:bodyStyle>
      <a:lvl1pPr marL="474121" indent="-474121" algn="l" defTabSz="1219170" rtl="0" eaLnBrk="1" latinLnBrk="0" hangingPunct="1">
        <a:lnSpc>
          <a:spcPct val="120000"/>
        </a:lnSpc>
        <a:spcBef>
          <a:spcPts val="0"/>
        </a:spcBef>
        <a:buSzPct val="150000"/>
        <a:buFontTx/>
        <a:buBlip>
          <a:blip r:embed="rId22"/>
        </a:buBlip>
        <a:defRPr sz="2000" kern="1200">
          <a:solidFill>
            <a:schemeClr val="accent1"/>
          </a:solidFill>
          <a:latin typeface="+mn-lt"/>
          <a:ea typeface="+mn-ea"/>
          <a:cs typeface="+mn-cs"/>
        </a:defRPr>
      </a:lvl1pPr>
      <a:lvl2pPr marL="711182" indent="-237061" algn="l" defTabSz="1219170" rtl="0" eaLnBrk="1" latinLnBrk="0" hangingPunct="1">
        <a:lnSpc>
          <a:spcPct val="120000"/>
        </a:lnSpc>
        <a:spcBef>
          <a:spcPts val="0"/>
        </a:spcBef>
        <a:buFontTx/>
        <a:buBlip>
          <a:blip r:embed="rId23"/>
        </a:buBlip>
        <a:defRPr sz="2000" kern="1200">
          <a:solidFill>
            <a:schemeClr val="accent3"/>
          </a:solidFill>
          <a:latin typeface="+mn-lt"/>
          <a:ea typeface="+mn-ea"/>
          <a:cs typeface="+mn-cs"/>
        </a:defRPr>
      </a:lvl2pPr>
      <a:lvl3pPr marL="965176" indent="-241294" algn="l" defTabSz="1083706" rtl="0" eaLnBrk="1" latinLnBrk="0" hangingPunct="1">
        <a:lnSpc>
          <a:spcPct val="120000"/>
        </a:lnSpc>
        <a:spcBef>
          <a:spcPts val="0"/>
        </a:spcBef>
        <a:buFont typeface="Lato" panose="020F0502020204030203" pitchFamily="34" charset="0"/>
        <a:buChar char="–"/>
        <a:defRPr sz="2000" kern="1200">
          <a:solidFill>
            <a:schemeClr val="accent2"/>
          </a:solidFill>
          <a:latin typeface="+mn-lt"/>
          <a:ea typeface="+mn-ea"/>
          <a:cs typeface="+mn-cs"/>
        </a:defRPr>
      </a:lvl3pPr>
      <a:lvl4pPr marL="1202237" indent="-241294" algn="l" defTabSz="1219170" rtl="0" eaLnBrk="1" latinLnBrk="0" hangingPunct="1">
        <a:lnSpc>
          <a:spcPct val="120000"/>
        </a:lnSpc>
        <a:spcBef>
          <a:spcPts val="0"/>
        </a:spcBef>
        <a:buFont typeface="Lato" panose="020F0502020204030203" pitchFamily="34" charset="0"/>
        <a:buChar char="–"/>
        <a:defRPr sz="2000" kern="1200">
          <a:solidFill>
            <a:schemeClr val="accent2"/>
          </a:solidFill>
          <a:latin typeface="+mn-lt"/>
          <a:ea typeface="+mn-ea"/>
          <a:cs typeface="+mn-cs"/>
        </a:defRPr>
      </a:lvl4pPr>
      <a:lvl5pPr marL="1439297" indent="-241294" algn="l" defTabSz="1219170" rtl="0" eaLnBrk="1" latinLnBrk="0" hangingPunct="1">
        <a:lnSpc>
          <a:spcPct val="120000"/>
        </a:lnSpc>
        <a:spcBef>
          <a:spcPts val="0"/>
        </a:spcBef>
        <a:buFont typeface="Lato" panose="020F0502020204030203" pitchFamily="34" charset="0"/>
        <a:buChar char="–"/>
        <a:defRPr sz="2000" kern="1200">
          <a:solidFill>
            <a:schemeClr val="accent2"/>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21" userDrawn="1">
          <p15:clr>
            <a:srgbClr val="F26B43"/>
          </p15:clr>
        </p15:guide>
        <p15:guide id="2" pos="604" userDrawn="1">
          <p15:clr>
            <a:srgbClr val="F26B43"/>
          </p15:clr>
        </p15:guide>
        <p15:guide id="3" pos="7076" userDrawn="1">
          <p15:clr>
            <a:srgbClr val="F26B43"/>
          </p15:clr>
        </p15:guide>
        <p15:guide id="4" orient="horz" pos="3612"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0.webp"/><Relationship Id="rId2" Type="http://schemas.openxmlformats.org/officeDocument/2006/relationships/notesSlide" Target="../notesSlides/notesSlide4.xml"/><Relationship Id="rId1" Type="http://schemas.openxmlformats.org/officeDocument/2006/relationships/slideLayout" Target="../slideLayouts/slideLayout14.xml"/><Relationship Id="rId5" Type="http://schemas.openxmlformats.org/officeDocument/2006/relationships/image" Target="../media/image15.png"/><Relationship Id="rId4" Type="http://schemas.openxmlformats.org/officeDocument/2006/relationships/image" Target="../media/image21.jpg"/></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14.xml"/><Relationship Id="rId5" Type="http://schemas.openxmlformats.org/officeDocument/2006/relationships/image" Target="../media/image15.png"/><Relationship Id="rId4" Type="http://schemas.openxmlformats.org/officeDocument/2006/relationships/hyperlink" Target="https://www.kpn.com/beleef/veiligheid/hoe-stel-je-de-sos-functie-op-je-smartphone-in.htm"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6.xml"/><Relationship Id="rId1" Type="http://schemas.openxmlformats.org/officeDocument/2006/relationships/slideLayout" Target="../slideLayouts/slideLayout14.xml"/><Relationship Id="rId4" Type="http://schemas.openxmlformats.org/officeDocument/2006/relationships/image" Target="../media/image15.png"/></Relationships>
</file>

<file path=ppt/slides/_rels/slide1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hyperlink" Target="https://www.google.nl/url?sa=i&amp;rct=j&amp;q=&amp;esrc=s&amp;source=images&amp;cd=&amp;cad=rja&amp;uact=8&amp;ved=2ahUKEwjlrcXLhariAhWJ_qQKHY6kDVwQjRx6BAgBEAU&amp;url=https://www.apowersoft.nl/iphone-x-8-scherm-opnemen.html&amp;psig=AOvVaw1OD8KqJnh1e3xZfZSMd3ts&amp;ust=1558439423887947" TargetMode="External"/><Relationship Id="rId1" Type="http://schemas.openxmlformats.org/officeDocument/2006/relationships/slideLayout" Target="../slideLayouts/slideLayout14.xml"/><Relationship Id="rId5" Type="http://schemas.openxmlformats.org/officeDocument/2006/relationships/image" Target="../media/image15.png"/><Relationship Id="rId4" Type="http://schemas.openxmlformats.org/officeDocument/2006/relationships/image" Target="../media/image25.png"/></Relationships>
</file>

<file path=ppt/slides/_rels/slide1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hyperlink" Target="https://www.google.nl/url?sa=i&amp;rct=j&amp;q=&amp;esrc=s&amp;source=images&amp;cd=&amp;cad=rja&amp;uact=8&amp;ved=2ahUKEwi_p_C6hKriAhXFGuwKHTVQCGIQjRx6BAgBEAU&amp;url=https://www.androidauthority.com/best-google-url-shortener-alternatives-853168/&amp;psig=AOvVaw2QI9WMhhOH4IJAgZ1VLdU_&amp;ust=1558439164771552" TargetMode="External"/><Relationship Id="rId1" Type="http://schemas.openxmlformats.org/officeDocument/2006/relationships/slideLayout" Target="../slideLayouts/slideLayout14.xml"/><Relationship Id="rId4" Type="http://schemas.openxmlformats.org/officeDocument/2006/relationships/image" Target="../media/image15.png"/></Relationships>
</file>

<file path=ppt/slides/_rels/slide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14.xml"/><Relationship Id="rId5" Type="http://schemas.openxmlformats.org/officeDocument/2006/relationships/image" Target="../media/image15.png"/><Relationship Id="rId4" Type="http://schemas.openxmlformats.org/officeDocument/2006/relationships/hyperlink" Target="http://www.gratislerentypen.nl/"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8.png"/><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hyperlink" Target="https://www.google.nl/url?sa=i&amp;rct=j&amp;q=&amp;esrc=s&amp;source=images&amp;cd=&amp;cad=rja&amp;uact=8&amp;ved=2ahUKEwjU6ObLjKriAhWBJlAKHSh5B3oQjRx6BAgBEAU&amp;url=https://www.iphoned.nl/apps/feedly-update/&amp;psig=AOvVaw2B7O9JwUObLdI9z_nn5aSS&amp;ust=1558441333216623" TargetMode="External"/><Relationship Id="rId2" Type="http://schemas.openxmlformats.org/officeDocument/2006/relationships/notesSlide" Target="../notesSlides/notesSlide8.xml"/><Relationship Id="rId1" Type="http://schemas.openxmlformats.org/officeDocument/2006/relationships/slideLayout" Target="../slideLayouts/slideLayout14.xml"/><Relationship Id="rId5" Type="http://schemas.openxmlformats.org/officeDocument/2006/relationships/image" Target="../media/image15.png"/><Relationship Id="rId4" Type="http://schemas.openxmlformats.org/officeDocument/2006/relationships/image" Target="../media/image29.jpeg"/></Relationships>
</file>

<file path=ppt/slides/_rels/slide1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hyperlink" Target="https://www.google.nl/url?sa=i&amp;rct=j&amp;q=&amp;esrc=s&amp;source=images&amp;cd=&amp;cad=rja&amp;uact=8&amp;ved=2ahUKEwjllfWhjariAhUKLFAKHUxfCIQQjRx6BAgBEAU&amp;url=https://www.nporadio1.nl/podcasts&amp;psig=AOvVaw3HVsSyKpBwlPps_TO4Y0f4&amp;ust=1558441518240013" TargetMode="External"/><Relationship Id="rId1" Type="http://schemas.openxmlformats.org/officeDocument/2006/relationships/slideLayout" Target="../slideLayouts/slideLayout14.xml"/><Relationship Id="rId6" Type="http://schemas.openxmlformats.org/officeDocument/2006/relationships/image" Target="../media/image15.png"/><Relationship Id="rId5" Type="http://schemas.openxmlformats.org/officeDocument/2006/relationships/image" Target="../media/image31.jpeg"/><Relationship Id="rId4" Type="http://schemas.openxmlformats.org/officeDocument/2006/relationships/hyperlink" Target="https://www.google.nl/url?sa=i&amp;rct=j&amp;q=&amp;esrc=s&amp;source=images&amp;cd=&amp;cad=rja&amp;uact=8&amp;ved=2ahUKEwjT-O67jariAhXGIlAKHQ9ID2gQjRx6BAgBEAU&amp;url=https://www.appwereld.nl/app/the-podcast-app-podcasts/1199070742&amp;psig=AOvVaw1yUr5hLarotWKc6X7AAw4x&amp;ust=1558441583383221" TargetMode="External"/></Relationships>
</file>

<file path=ppt/slides/_rels/slide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hyperlink" Target="https://www.google.nl/url?sa=i&amp;rct=j&amp;q=&amp;esrc=s&amp;source=images&amp;cd=&amp;cad=rja&amp;uact=8&amp;ved=2ahUKEwjNj9vMjariAhVELFAKHaSLD6IQjRx6BAgBEAU&amp;url=https://www.appletips.nl/ios-niet-storen-tijdens-autorijden/&amp;psig=AOvVaw00iz_NFAUaj6aY5x4g28kJ&amp;ust=1558441618232300" TargetMode="External"/><Relationship Id="rId1" Type="http://schemas.openxmlformats.org/officeDocument/2006/relationships/slideLayout" Target="../slideLayouts/slideLayout14.xml"/><Relationship Id="rId5" Type="http://schemas.openxmlformats.org/officeDocument/2006/relationships/image" Target="../media/image15.png"/><Relationship Id="rId4" Type="http://schemas.openxmlformats.org/officeDocument/2006/relationships/hyperlink" Target="https://www.appletips.nl/gowhatsapp"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3.webp"/><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4.png"/><Relationship Id="rId1" Type="http://schemas.openxmlformats.org/officeDocument/2006/relationships/slideLayout" Target="../slideLayouts/slideLayout14.xml"/><Relationship Id="rId4" Type="http://schemas.openxmlformats.org/officeDocument/2006/relationships/image" Target="../media/image35.jpg"/></Relationships>
</file>

<file path=ppt/slides/_rels/slide23.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hyperlink" Target="https://www.google.nl/url?sa=i&amp;rct=j&amp;q=&amp;esrc=s&amp;source=images&amp;cd=&amp;ved=2ahUKEwifhIn3jariAhUEPVAKHWG2DQ0QjRx6BAgBEAU&amp;url=https://www.appletips.nl/website-beginscherm-ios/&amp;psig=AOvVaw115ZcR8luEmy557PSBtgus&amp;ust=1558441707911019" TargetMode="External"/><Relationship Id="rId1" Type="http://schemas.openxmlformats.org/officeDocument/2006/relationships/slideLayout" Target="../slideLayouts/slideLayout14.xml"/><Relationship Id="rId6" Type="http://schemas.openxmlformats.org/officeDocument/2006/relationships/image" Target="../media/image15.png"/><Relationship Id="rId5" Type="http://schemas.openxmlformats.org/officeDocument/2006/relationships/hyperlink" Target="https://www.appletips.nl/w1mf" TargetMode="External"/><Relationship Id="rId4" Type="http://schemas.openxmlformats.org/officeDocument/2006/relationships/hyperlink" Target="https://www.appletips.nl/7heh"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hyperlink" Target="http://www.google.nl/url?sa=i&amp;rct=j&amp;q=&amp;esrc=s&amp;source=images&amp;cd=&amp;cad=rja&amp;uact=8&amp;ved=2ahUKEwiM856XjqriAhVSLFAKHc-3B3wQjRx6BAgBEAU&amp;url=http://www.business-opportunities.biz/2009/11/07/scan-your-biz-cards-on-the-go/&amp;psig=AOvVaw3m5q4frsSPFrsNm3QYIZLE&amp;ust=1558441776760257" TargetMode="External"/><Relationship Id="rId1" Type="http://schemas.openxmlformats.org/officeDocument/2006/relationships/slideLayout" Target="../slideLayouts/slideLayout14.xml"/><Relationship Id="rId4" Type="http://schemas.openxmlformats.org/officeDocument/2006/relationships/image" Target="../media/image15.png"/></Relationships>
</file>

<file path=ppt/slides/_rels/slide25.xml.rels><?xml version="1.0" encoding="UTF-8" standalone="yes"?>
<Relationships xmlns="http://schemas.openxmlformats.org/package/2006/relationships"><Relationship Id="rId3" Type="http://schemas.openxmlformats.org/officeDocument/2006/relationships/hyperlink" Target="https://www.google.nl/url?sa=i&amp;rct=j&amp;q=&amp;esrc=s&amp;source=images&amp;cd=&amp;ved=2ahUKEwjau4jTj6riAhWRJVAKHUS5ABUQjRx6BAgBEAU&amp;url=https://www.hoekschnieuws.nl/2017/09/14/is-smartphone-boefproof/&amp;psig=AOvVaw0s52VLHWHrTpORk9CVQj01&amp;ust=1558442171954474" TargetMode="External"/><Relationship Id="rId2" Type="http://schemas.openxmlformats.org/officeDocument/2006/relationships/hyperlink" Target="http://www.boefproof.nl/" TargetMode="External"/><Relationship Id="rId1" Type="http://schemas.openxmlformats.org/officeDocument/2006/relationships/slideLayout" Target="../slideLayouts/slideLayout14.xml"/><Relationship Id="rId5" Type="http://schemas.openxmlformats.org/officeDocument/2006/relationships/image" Target="../media/image15.png"/><Relationship Id="rId4" Type="http://schemas.openxmlformats.org/officeDocument/2006/relationships/image" Target="../media/image38.png"/></Relationships>
</file>

<file path=ppt/slides/_rels/slide26.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hyperlink" Target="https://androidworld.nl/tips/google-maps-offline-gebruiken/" TargetMode="External"/><Relationship Id="rId1" Type="http://schemas.openxmlformats.org/officeDocument/2006/relationships/slideLayout" Target="../slideLayouts/slideLayout14.xml"/><Relationship Id="rId4" Type="http://schemas.openxmlformats.org/officeDocument/2006/relationships/image" Target="../media/image15.png"/></Relationships>
</file>

<file path=ppt/slides/_rels/slide2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0.jpeg"/><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hyperlink" Target="https://itunes.apple.com/us/app/nightstand-central-alarm-clock/id392479477#?platform=ipad" TargetMode="External"/><Relationship Id="rId1" Type="http://schemas.openxmlformats.org/officeDocument/2006/relationships/slideLayout" Target="../slideLayouts/slideLayout14.xml"/><Relationship Id="rId4" Type="http://schemas.openxmlformats.org/officeDocument/2006/relationships/image" Target="../media/image15.png"/></Relationships>
</file>

<file path=ppt/slides/_rels/slide2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2.png"/><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3.jpeg"/><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hyperlink" Target="https://help.netflix.com/nl/node/23090" TargetMode="External"/><Relationship Id="rId7" Type="http://schemas.openxmlformats.org/officeDocument/2006/relationships/image" Target="../media/image15.png"/><Relationship Id="rId2" Type="http://schemas.openxmlformats.org/officeDocument/2006/relationships/hyperlink" Target="https://help.netflix.com/nl/node/54" TargetMode="External"/><Relationship Id="rId1" Type="http://schemas.openxmlformats.org/officeDocument/2006/relationships/slideLayout" Target="../slideLayouts/slideLayout14.xml"/><Relationship Id="rId6" Type="http://schemas.openxmlformats.org/officeDocument/2006/relationships/image" Target="../media/image44.jpeg"/><Relationship Id="rId5" Type="http://schemas.openxmlformats.org/officeDocument/2006/relationships/hyperlink" Target="https://help.netflix.com/nl/node/23931" TargetMode="External"/><Relationship Id="rId4" Type="http://schemas.openxmlformats.org/officeDocument/2006/relationships/hyperlink" Target="https://help.netflix.com/nl/node/105149"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hyperlink" Target="https://www.google.nl/url?sa=i&amp;rct=j&amp;q=&amp;esrc=s&amp;source=images&amp;cd=&amp;cad=rja&amp;uact=8&amp;ved=2ahUKEwi8j6CSgqriAhXJ16QKHRmjCDEQjRx6BAgBEAU&amp;url=https://www.secretaressenet.nl/secretaresse-columns/word-zoeken-en-vervangen/&amp;psig=AOvVaw19IRJykRDtijbK1Pj6ULbi&amp;ust=1558438543762653" TargetMode="External"/><Relationship Id="rId2" Type="http://schemas.openxmlformats.org/officeDocument/2006/relationships/notesSlide" Target="../notesSlides/notesSlide1.xml"/><Relationship Id="rId1" Type="http://schemas.openxmlformats.org/officeDocument/2006/relationships/slideLayout" Target="../slideLayouts/slideLayout14.xml"/><Relationship Id="rId5" Type="http://schemas.openxmlformats.org/officeDocument/2006/relationships/image" Target="../media/image15.png"/><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14.xml"/><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image" Target="../media/image19.webp"/><Relationship Id="rId2" Type="http://schemas.openxmlformats.org/officeDocument/2006/relationships/notesSlide" Target="../notesSlides/notesSlide3.xml"/><Relationship Id="rId1" Type="http://schemas.openxmlformats.org/officeDocument/2006/relationships/slideLayout" Target="../slideLayouts/slideLayout14.xml"/><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Rechthoek 6"/>
          <p:cNvSpPr/>
          <p:nvPr/>
        </p:nvSpPr>
        <p:spPr>
          <a:xfrm>
            <a:off x="0" y="4020207"/>
            <a:ext cx="12192000" cy="28377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nl-NL"/>
          </a:p>
        </p:txBody>
      </p:sp>
      <p:sp>
        <p:nvSpPr>
          <p:cNvPr id="2" name="Titel 1"/>
          <p:cNvSpPr>
            <a:spLocks noGrp="1"/>
          </p:cNvSpPr>
          <p:nvPr>
            <p:ph type="title"/>
          </p:nvPr>
        </p:nvSpPr>
        <p:spPr>
          <a:xfrm>
            <a:off x="0" y="4819013"/>
            <a:ext cx="11489267" cy="775597"/>
          </a:xfrm>
        </p:spPr>
        <p:txBody>
          <a:bodyPr/>
          <a:lstStyle/>
          <a:p>
            <a:pPr algn="ctr"/>
            <a:r>
              <a:rPr lang="nl-NL" sz="2800" dirty="0" smtClean="0"/>
              <a:t>Meer </a:t>
            </a:r>
            <a:r>
              <a:rPr lang="nl-NL" sz="2800" dirty="0" smtClean="0"/>
              <a:t>kwaliteit en tijd</a:t>
            </a:r>
            <a:r>
              <a:rPr lang="nl-NL" sz="2800" dirty="0" smtClean="0"/>
              <a:t/>
            </a:r>
            <a:br>
              <a:rPr lang="nl-NL" sz="2800" dirty="0" smtClean="0"/>
            </a:br>
            <a:r>
              <a:rPr lang="nl-NL" sz="2800" dirty="0" smtClean="0"/>
              <a:t>door digitalisering</a:t>
            </a:r>
            <a:endParaRPr lang="nl-NL" sz="2800" dirty="0"/>
          </a:p>
        </p:txBody>
      </p:sp>
      <p:sp>
        <p:nvSpPr>
          <p:cNvPr id="5" name="Tekstvak 4"/>
          <p:cNvSpPr txBox="1"/>
          <p:nvPr/>
        </p:nvSpPr>
        <p:spPr>
          <a:xfrm>
            <a:off x="866729" y="1659264"/>
            <a:ext cx="9963807" cy="1661993"/>
          </a:xfrm>
          <a:prstGeom prst="rect">
            <a:avLst/>
          </a:prstGeom>
          <a:noFill/>
        </p:spPr>
        <p:txBody>
          <a:bodyPr wrap="square" lIns="0" tIns="0" rIns="0" bIns="0" rtlCol="0">
            <a:spAutoFit/>
          </a:bodyPr>
          <a:lstStyle/>
          <a:p>
            <a:pPr algn="ctr"/>
            <a:r>
              <a:rPr lang="nl-NL" sz="5400" b="1" dirty="0" smtClean="0"/>
              <a:t>Een leven lang leren,</a:t>
            </a:r>
          </a:p>
          <a:p>
            <a:pPr algn="ctr"/>
            <a:r>
              <a:rPr lang="nl-NL" sz="5400" b="1" dirty="0"/>
              <a:t>v</a:t>
            </a:r>
            <a:r>
              <a:rPr lang="nl-NL" sz="5400" b="1" dirty="0" smtClean="0"/>
              <a:t>erbeter je digitale </a:t>
            </a:r>
            <a:r>
              <a:rPr lang="nl-NL" sz="5400" b="1" dirty="0" smtClean="0"/>
              <a:t>Vaardigheden</a:t>
            </a:r>
          </a:p>
        </p:txBody>
      </p:sp>
      <p:pic>
        <p:nvPicPr>
          <p:cNvPr id="8" name="Afbeelding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51122" y="263480"/>
            <a:ext cx="2358828" cy="2358828"/>
          </a:xfrm>
          <a:prstGeom prst="rect">
            <a:avLst/>
          </a:prstGeom>
        </p:spPr>
      </p:pic>
    </p:spTree>
    <p:extLst>
      <p:ext uri="{BB962C8B-B14F-4D97-AF65-F5344CB8AC3E}">
        <p14:creationId xmlns:p14="http://schemas.microsoft.com/office/powerpoint/2010/main" val="336320217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De dicteerfunctie</a:t>
            </a:r>
            <a:endParaRPr lang="nl-NL" dirty="0"/>
          </a:p>
        </p:txBody>
      </p:sp>
      <p:pic>
        <p:nvPicPr>
          <p:cNvPr id="4" name="Afbeelding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50571" y="618263"/>
            <a:ext cx="1702512" cy="1830041"/>
          </a:xfrm>
          <a:prstGeom prst="rect">
            <a:avLst/>
          </a:prstGeom>
        </p:spPr>
      </p:pic>
      <p:pic>
        <p:nvPicPr>
          <p:cNvPr id="5" name="Afbeelding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05824" y="2722217"/>
            <a:ext cx="4792007" cy="3088182"/>
          </a:xfrm>
          <a:prstGeom prst="rect">
            <a:avLst/>
          </a:prstGeom>
        </p:spPr>
      </p:pic>
      <p:sp>
        <p:nvSpPr>
          <p:cNvPr id="3" name="Tekstvak 2"/>
          <p:cNvSpPr txBox="1"/>
          <p:nvPr/>
        </p:nvSpPr>
        <p:spPr>
          <a:xfrm>
            <a:off x="968644" y="2100020"/>
            <a:ext cx="4308529" cy="2215991"/>
          </a:xfrm>
          <a:prstGeom prst="rect">
            <a:avLst/>
          </a:prstGeom>
          <a:noFill/>
        </p:spPr>
        <p:txBody>
          <a:bodyPr wrap="square" lIns="0" tIns="0" rIns="0" bIns="0" rtlCol="0">
            <a:spAutoFit/>
          </a:bodyPr>
          <a:lstStyle/>
          <a:p>
            <a:r>
              <a:rPr lang="nl-NL" dirty="0"/>
              <a:t>Gesproken tekst omzetten in getypte tekst met een gratis functie op de iPhone. </a:t>
            </a:r>
            <a:r>
              <a:rPr lang="nl-NL" dirty="0" smtClean="0"/>
              <a:t/>
            </a:r>
            <a:br>
              <a:rPr lang="nl-NL" dirty="0" smtClean="0"/>
            </a:br>
            <a:r>
              <a:rPr lang="nl-NL" dirty="0" smtClean="0"/>
              <a:t>Niet </a:t>
            </a:r>
            <a:r>
              <a:rPr lang="nl-NL" dirty="0"/>
              <a:t>te verwarren met microfoon in WhatsApp voor spraakberichten</a:t>
            </a:r>
          </a:p>
          <a:p>
            <a:pPr algn="l"/>
            <a:endParaRPr lang="nl-NL" dirty="0" err="1"/>
          </a:p>
        </p:txBody>
      </p:sp>
      <p:sp>
        <p:nvSpPr>
          <p:cNvPr id="6" name="Rechthoek 5"/>
          <p:cNvSpPr/>
          <p:nvPr/>
        </p:nvSpPr>
        <p:spPr>
          <a:xfrm>
            <a:off x="0" y="6065585"/>
            <a:ext cx="12192000" cy="7924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nl-NL"/>
          </a:p>
        </p:txBody>
      </p:sp>
      <p:pic>
        <p:nvPicPr>
          <p:cNvPr id="7" name="Afbeelding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14993" y="44271"/>
            <a:ext cx="1277007" cy="1277007"/>
          </a:xfrm>
          <a:prstGeom prst="rect">
            <a:avLst/>
          </a:prstGeom>
        </p:spPr>
      </p:pic>
    </p:spTree>
    <p:extLst>
      <p:ext uri="{BB962C8B-B14F-4D97-AF65-F5344CB8AC3E}">
        <p14:creationId xmlns:p14="http://schemas.microsoft.com/office/powerpoint/2010/main" val="3788255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SOS Help</a:t>
            </a:r>
            <a:endParaRPr lang="nl-NL" dirty="0"/>
          </a:p>
        </p:txBody>
      </p:sp>
      <p:pic>
        <p:nvPicPr>
          <p:cNvPr id="3" name="Afbeelding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62959" y="2012531"/>
            <a:ext cx="3951073" cy="2090245"/>
          </a:xfrm>
          <a:prstGeom prst="rect">
            <a:avLst/>
          </a:prstGeom>
        </p:spPr>
      </p:pic>
      <p:sp>
        <p:nvSpPr>
          <p:cNvPr id="4" name="Tekstvak 3"/>
          <p:cNvSpPr txBox="1"/>
          <p:nvPr/>
        </p:nvSpPr>
        <p:spPr>
          <a:xfrm>
            <a:off x="712922" y="1627322"/>
            <a:ext cx="5145437" cy="3323987"/>
          </a:xfrm>
          <a:prstGeom prst="rect">
            <a:avLst/>
          </a:prstGeom>
          <a:noFill/>
        </p:spPr>
        <p:txBody>
          <a:bodyPr wrap="square" lIns="0" tIns="0" rIns="0" bIns="0" rtlCol="0">
            <a:spAutoFit/>
          </a:bodyPr>
          <a:lstStyle/>
          <a:p>
            <a:r>
              <a:rPr lang="nl-NL" dirty="0">
                <a:hlinkClick r:id="rId4"/>
              </a:rPr>
              <a:t>https://</a:t>
            </a:r>
            <a:r>
              <a:rPr lang="nl-NL" dirty="0" smtClean="0">
                <a:hlinkClick r:id="rId4"/>
              </a:rPr>
              <a:t>www.kpn.com/beleef/veiligheid/hoe-stel-je-de-sos-functie-op-je-smartphone-in.htm</a:t>
            </a:r>
            <a:endParaRPr lang="nl-NL" dirty="0" smtClean="0"/>
          </a:p>
          <a:p>
            <a:endParaRPr lang="nl-NL" dirty="0"/>
          </a:p>
          <a:p>
            <a:r>
              <a:rPr lang="nl-NL" dirty="0"/>
              <a:t>Met de SOS-functie verstuur je met drie keer snel drukken op de aan-uitknop een noodbericht naar de hulpdiensten of vooraf ingesteld contactpersonen</a:t>
            </a:r>
            <a:r>
              <a:rPr lang="nl-NL" dirty="0" smtClean="0"/>
              <a:t>. </a:t>
            </a:r>
            <a:endParaRPr lang="nl-NL" dirty="0"/>
          </a:p>
          <a:p>
            <a:pPr algn="l"/>
            <a:endParaRPr lang="nl-NL" dirty="0" err="1"/>
          </a:p>
        </p:txBody>
      </p:sp>
      <p:sp>
        <p:nvSpPr>
          <p:cNvPr id="5" name="Rechthoek 4"/>
          <p:cNvSpPr/>
          <p:nvPr/>
        </p:nvSpPr>
        <p:spPr>
          <a:xfrm>
            <a:off x="0" y="6065585"/>
            <a:ext cx="12192000" cy="7924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nl-NL"/>
          </a:p>
        </p:txBody>
      </p:sp>
      <p:pic>
        <p:nvPicPr>
          <p:cNvPr id="6" name="Afbeelding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14993" y="44271"/>
            <a:ext cx="1277007" cy="1277007"/>
          </a:xfrm>
          <a:prstGeom prst="rect">
            <a:avLst/>
          </a:prstGeom>
        </p:spPr>
      </p:pic>
    </p:spTree>
    <p:extLst>
      <p:ext uri="{BB962C8B-B14F-4D97-AF65-F5344CB8AC3E}">
        <p14:creationId xmlns:p14="http://schemas.microsoft.com/office/powerpoint/2010/main" val="3716213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p:cNvSpPr>
            <a:spLocks noGrp="1"/>
          </p:cNvSpPr>
          <p:nvPr>
            <p:ph type="title"/>
          </p:nvPr>
        </p:nvSpPr>
        <p:spPr>
          <a:xfrm>
            <a:off x="958853" y="892176"/>
            <a:ext cx="10274300" cy="498598"/>
          </a:xfrm>
        </p:spPr>
        <p:txBody>
          <a:bodyPr/>
          <a:lstStyle/>
          <a:p>
            <a:r>
              <a:rPr lang="nl-NL" dirty="0"/>
              <a:t>Een afbeelding makkelijk verplaatsen in Word</a:t>
            </a:r>
          </a:p>
        </p:txBody>
      </p:sp>
      <p:pic>
        <p:nvPicPr>
          <p:cNvPr id="276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93963" y="1624551"/>
            <a:ext cx="5436038" cy="40770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kstvak 2"/>
          <p:cNvSpPr txBox="1"/>
          <p:nvPr/>
        </p:nvSpPr>
        <p:spPr>
          <a:xfrm>
            <a:off x="1084881" y="2231756"/>
            <a:ext cx="4145797" cy="2585323"/>
          </a:xfrm>
          <a:prstGeom prst="rect">
            <a:avLst/>
          </a:prstGeom>
          <a:noFill/>
        </p:spPr>
        <p:txBody>
          <a:bodyPr wrap="square" lIns="0" tIns="0" rIns="0" bIns="0" rtlCol="0">
            <a:spAutoFit/>
          </a:bodyPr>
          <a:lstStyle/>
          <a:p>
            <a:r>
              <a:rPr lang="nl-NL" dirty="0" smtClean="0"/>
              <a:t>Rechtermuisknop/ naar achtergrond/ </a:t>
            </a:r>
            <a:r>
              <a:rPr lang="nl-NL" dirty="0"/>
              <a:t>achter tekst plaatsen. </a:t>
            </a:r>
            <a:endParaRPr lang="nl-NL" dirty="0" smtClean="0"/>
          </a:p>
          <a:p>
            <a:endParaRPr lang="nl-NL" dirty="0" smtClean="0"/>
          </a:p>
          <a:p>
            <a:r>
              <a:rPr lang="nl-NL" dirty="0" smtClean="0"/>
              <a:t>Nu </a:t>
            </a:r>
            <a:r>
              <a:rPr lang="nl-NL" dirty="0"/>
              <a:t>kun je de foto overal plaatsen waar je wilt. </a:t>
            </a:r>
          </a:p>
          <a:p>
            <a:pPr algn="l"/>
            <a:endParaRPr lang="nl-NL" dirty="0" err="1"/>
          </a:p>
        </p:txBody>
      </p:sp>
      <p:sp>
        <p:nvSpPr>
          <p:cNvPr id="5" name="Rechthoek 4"/>
          <p:cNvSpPr/>
          <p:nvPr/>
        </p:nvSpPr>
        <p:spPr>
          <a:xfrm>
            <a:off x="0" y="6065585"/>
            <a:ext cx="12192000" cy="7924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nl-NL"/>
          </a:p>
        </p:txBody>
      </p:sp>
      <p:pic>
        <p:nvPicPr>
          <p:cNvPr id="6" name="Afbeelding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914993" y="44271"/>
            <a:ext cx="1277007" cy="1277007"/>
          </a:xfrm>
          <a:prstGeom prst="rect">
            <a:avLst/>
          </a:prstGeom>
        </p:spPr>
      </p:pic>
    </p:spTree>
    <p:extLst>
      <p:ext uri="{BB962C8B-B14F-4D97-AF65-F5344CB8AC3E}">
        <p14:creationId xmlns:p14="http://schemas.microsoft.com/office/powerpoint/2010/main" val="580757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p:cNvSpPr>
            <a:spLocks noGrp="1"/>
          </p:cNvSpPr>
          <p:nvPr>
            <p:ph type="title"/>
          </p:nvPr>
        </p:nvSpPr>
        <p:spPr>
          <a:xfrm>
            <a:off x="958853" y="892176"/>
            <a:ext cx="10274300" cy="498598"/>
          </a:xfrm>
        </p:spPr>
        <p:txBody>
          <a:bodyPr/>
          <a:lstStyle/>
          <a:p>
            <a:r>
              <a:rPr lang="nl-NL" dirty="0" err="1"/>
              <a:t>Tutorials</a:t>
            </a:r>
            <a:r>
              <a:rPr lang="nl-NL" dirty="0"/>
              <a:t> maken</a:t>
            </a:r>
          </a:p>
        </p:txBody>
      </p:sp>
      <p:sp>
        <p:nvSpPr>
          <p:cNvPr id="3" name="Tekstvak 2"/>
          <p:cNvSpPr txBox="1"/>
          <p:nvPr/>
        </p:nvSpPr>
        <p:spPr>
          <a:xfrm>
            <a:off x="736169" y="2316997"/>
            <a:ext cx="3967567" cy="1477328"/>
          </a:xfrm>
          <a:prstGeom prst="rect">
            <a:avLst/>
          </a:prstGeom>
          <a:noFill/>
        </p:spPr>
        <p:txBody>
          <a:bodyPr wrap="square" lIns="0" tIns="0" rIns="0" bIns="0" rtlCol="0">
            <a:spAutoFit/>
          </a:bodyPr>
          <a:lstStyle/>
          <a:p>
            <a:pPr algn="l"/>
            <a:endParaRPr lang="nl-NL" dirty="0" smtClean="0"/>
          </a:p>
          <a:p>
            <a:pPr algn="l"/>
            <a:endParaRPr lang="nl-NL" dirty="0"/>
          </a:p>
          <a:p>
            <a:pPr algn="l"/>
            <a:endParaRPr lang="nl-NL" dirty="0" smtClean="0"/>
          </a:p>
          <a:p>
            <a:pPr algn="l"/>
            <a:endParaRPr lang="nl-NL" dirty="0" err="1"/>
          </a:p>
        </p:txBody>
      </p:sp>
      <p:pic>
        <p:nvPicPr>
          <p:cNvPr id="30722" name="Picture 2" descr="Afbeeldingsresultaat voor schermopname iphone">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33845" y="1352226"/>
            <a:ext cx="4857750" cy="4286250"/>
          </a:xfrm>
          <a:prstGeom prst="rect">
            <a:avLst/>
          </a:prstGeom>
          <a:noFill/>
          <a:extLst>
            <a:ext uri="{909E8E84-426E-40DD-AFC4-6F175D3DCCD1}">
              <a14:hiddenFill xmlns:a14="http://schemas.microsoft.com/office/drawing/2010/main">
                <a:solidFill>
                  <a:srgbClr val="FFFFFF"/>
                </a:solidFill>
              </a14:hiddenFill>
            </a:ext>
          </a:extLst>
        </p:spPr>
      </p:pic>
      <p:pic>
        <p:nvPicPr>
          <p:cNvPr id="30724" name="Picture 4" descr="Je kunt tijdens de schermopname ook de microfoon opneme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32197" y="1352226"/>
            <a:ext cx="1609725" cy="2857500"/>
          </a:xfrm>
          <a:prstGeom prst="rect">
            <a:avLst/>
          </a:prstGeom>
          <a:noFill/>
          <a:extLst>
            <a:ext uri="{909E8E84-426E-40DD-AFC4-6F175D3DCCD1}">
              <a14:hiddenFill xmlns:a14="http://schemas.microsoft.com/office/drawing/2010/main">
                <a:solidFill>
                  <a:srgbClr val="FFFFFF"/>
                </a:solidFill>
              </a14:hiddenFill>
            </a:ext>
          </a:extLst>
        </p:spPr>
      </p:pic>
      <p:sp>
        <p:nvSpPr>
          <p:cNvPr id="4" name="Tekstvak 3"/>
          <p:cNvSpPr txBox="1"/>
          <p:nvPr/>
        </p:nvSpPr>
        <p:spPr>
          <a:xfrm>
            <a:off x="999641" y="1937288"/>
            <a:ext cx="2921430" cy="3323987"/>
          </a:xfrm>
          <a:prstGeom prst="rect">
            <a:avLst/>
          </a:prstGeom>
          <a:noFill/>
        </p:spPr>
        <p:txBody>
          <a:bodyPr wrap="square" lIns="0" tIns="0" rIns="0" bIns="0" rtlCol="0">
            <a:spAutoFit/>
          </a:bodyPr>
          <a:lstStyle/>
          <a:p>
            <a:r>
              <a:rPr lang="nl-NL" dirty="0" smtClean="0"/>
              <a:t>Schermopname: </a:t>
            </a:r>
          </a:p>
          <a:p>
            <a:r>
              <a:rPr lang="nl-NL" dirty="0" smtClean="0"/>
              <a:t>Een </a:t>
            </a:r>
            <a:r>
              <a:rPr lang="nl-NL" dirty="0"/>
              <a:t>(korte) video waarin je jouw scherm opneemt, terwijl je acties uitvoert. </a:t>
            </a:r>
            <a:endParaRPr lang="nl-NL" dirty="0" smtClean="0"/>
          </a:p>
          <a:p>
            <a:r>
              <a:rPr lang="nl-NL" dirty="0" smtClean="0"/>
              <a:t>Net </a:t>
            </a:r>
            <a:r>
              <a:rPr lang="nl-NL" dirty="0"/>
              <a:t>als met een schermafbeelding kan dit handig zijn in allerlei situaties.</a:t>
            </a:r>
          </a:p>
        </p:txBody>
      </p:sp>
      <p:cxnSp>
        <p:nvCxnSpPr>
          <p:cNvPr id="6" name="Rechte verbindingslijn met pijl 5"/>
          <p:cNvCxnSpPr/>
          <p:nvPr/>
        </p:nvCxnSpPr>
        <p:spPr>
          <a:xfrm flipH="1" flipV="1">
            <a:off x="10554346" y="3665349"/>
            <a:ext cx="798162" cy="119337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7" name="Tekstvak 6"/>
          <p:cNvSpPr txBox="1"/>
          <p:nvPr/>
        </p:nvSpPr>
        <p:spPr>
          <a:xfrm>
            <a:off x="10842841" y="4921369"/>
            <a:ext cx="798162" cy="184666"/>
          </a:xfrm>
          <a:prstGeom prst="rect">
            <a:avLst/>
          </a:prstGeom>
          <a:noFill/>
        </p:spPr>
        <p:txBody>
          <a:bodyPr wrap="square" lIns="0" tIns="0" rIns="0" bIns="0" rtlCol="0">
            <a:spAutoFit/>
          </a:bodyPr>
          <a:lstStyle/>
          <a:p>
            <a:pPr algn="l"/>
            <a:r>
              <a:rPr lang="nl-NL" sz="1200" dirty="0" smtClean="0"/>
              <a:t>Met geluid!</a:t>
            </a:r>
            <a:endParaRPr lang="nl-NL" sz="1200" dirty="0"/>
          </a:p>
        </p:txBody>
      </p:sp>
      <p:sp>
        <p:nvSpPr>
          <p:cNvPr id="9" name="Rechthoek 8"/>
          <p:cNvSpPr/>
          <p:nvPr/>
        </p:nvSpPr>
        <p:spPr>
          <a:xfrm>
            <a:off x="0" y="6065585"/>
            <a:ext cx="12192000" cy="7924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nl-NL"/>
          </a:p>
        </p:txBody>
      </p:sp>
      <p:pic>
        <p:nvPicPr>
          <p:cNvPr id="10" name="Afbeelding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14993" y="44271"/>
            <a:ext cx="1277007" cy="1277007"/>
          </a:xfrm>
          <a:prstGeom prst="rect">
            <a:avLst/>
          </a:prstGeom>
        </p:spPr>
      </p:pic>
    </p:spTree>
    <p:extLst>
      <p:ext uri="{BB962C8B-B14F-4D97-AF65-F5344CB8AC3E}">
        <p14:creationId xmlns:p14="http://schemas.microsoft.com/office/powerpoint/2010/main" val="515848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Hyperlinks verkorten</a:t>
            </a:r>
            <a:endParaRPr lang="nl-NL" dirty="0"/>
          </a:p>
        </p:txBody>
      </p:sp>
      <p:pic>
        <p:nvPicPr>
          <p:cNvPr id="29698" name="Picture 2" descr="Afbeeldingsresultaat voor tiny url">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89588" y="1712563"/>
            <a:ext cx="4762500" cy="2857500"/>
          </a:xfrm>
          <a:prstGeom prst="rect">
            <a:avLst/>
          </a:prstGeom>
          <a:noFill/>
          <a:extLst>
            <a:ext uri="{909E8E84-426E-40DD-AFC4-6F175D3DCCD1}">
              <a14:hiddenFill xmlns:a14="http://schemas.microsoft.com/office/drawing/2010/main">
                <a:solidFill>
                  <a:srgbClr val="FFFFFF"/>
                </a:solidFill>
              </a14:hiddenFill>
            </a:ext>
          </a:extLst>
        </p:spPr>
      </p:pic>
      <p:sp>
        <p:nvSpPr>
          <p:cNvPr id="3" name="Tekstvak 2"/>
          <p:cNvSpPr txBox="1"/>
          <p:nvPr/>
        </p:nvSpPr>
        <p:spPr>
          <a:xfrm>
            <a:off x="1007390" y="2123268"/>
            <a:ext cx="4370522" cy="1107996"/>
          </a:xfrm>
          <a:prstGeom prst="rect">
            <a:avLst/>
          </a:prstGeom>
          <a:noFill/>
        </p:spPr>
        <p:txBody>
          <a:bodyPr wrap="square" lIns="0" tIns="0" rIns="0" bIns="0" rtlCol="0">
            <a:spAutoFit/>
          </a:bodyPr>
          <a:lstStyle/>
          <a:p>
            <a:pPr algn="l"/>
            <a:r>
              <a:rPr lang="nl-NL" dirty="0" smtClean="0"/>
              <a:t>In plaats van een hele lange link, een korte klikbare link maken op www.tinyurl.com</a:t>
            </a:r>
            <a:endParaRPr lang="nl-NL" dirty="0"/>
          </a:p>
        </p:txBody>
      </p:sp>
      <p:sp>
        <p:nvSpPr>
          <p:cNvPr id="5" name="Rechthoek 4"/>
          <p:cNvSpPr/>
          <p:nvPr/>
        </p:nvSpPr>
        <p:spPr>
          <a:xfrm>
            <a:off x="0" y="6065585"/>
            <a:ext cx="12192000" cy="7924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nl-NL"/>
          </a:p>
        </p:txBody>
      </p:sp>
      <p:pic>
        <p:nvPicPr>
          <p:cNvPr id="6" name="Afbeelding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914993" y="44271"/>
            <a:ext cx="1277007" cy="1277007"/>
          </a:xfrm>
          <a:prstGeom prst="rect">
            <a:avLst/>
          </a:prstGeom>
        </p:spPr>
      </p:pic>
    </p:spTree>
    <p:extLst>
      <p:ext uri="{BB962C8B-B14F-4D97-AF65-F5344CB8AC3E}">
        <p14:creationId xmlns:p14="http://schemas.microsoft.com/office/powerpoint/2010/main" val="3632201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Slimmer zoeken op Google</a:t>
            </a:r>
            <a:endParaRPr lang="nl-NL" dirty="0"/>
          </a:p>
        </p:txBody>
      </p:sp>
      <p:sp>
        <p:nvSpPr>
          <p:cNvPr id="3" name="Tekstvak 2"/>
          <p:cNvSpPr txBox="1"/>
          <p:nvPr/>
        </p:nvSpPr>
        <p:spPr>
          <a:xfrm>
            <a:off x="1077132" y="1464590"/>
            <a:ext cx="10314122" cy="3939540"/>
          </a:xfrm>
          <a:prstGeom prst="rect">
            <a:avLst/>
          </a:prstGeom>
          <a:noFill/>
        </p:spPr>
        <p:txBody>
          <a:bodyPr wrap="square" lIns="0" tIns="0" rIns="0" bIns="0" rtlCol="0">
            <a:spAutoFit/>
          </a:bodyPr>
          <a:lstStyle/>
          <a:p>
            <a:pPr marL="285750" indent="-285750">
              <a:buFont typeface="Arial" pitchFamily="34" charset="0"/>
              <a:buChar char="•"/>
            </a:pPr>
            <a:r>
              <a:rPr lang="nl-NL" sz="1600" dirty="0" smtClean="0"/>
              <a:t>Wist </a:t>
            </a:r>
            <a:r>
              <a:rPr lang="nl-NL" sz="1600" dirty="0"/>
              <a:t>je dat je woorden kon uitsluiten in je zoektocht? Bijvoorbeeld New -York. Dan zoekt Google op alle woorden met New, maar niet op New York. </a:t>
            </a:r>
            <a:endParaRPr lang="nl-NL" sz="1600" dirty="0" smtClean="0"/>
          </a:p>
          <a:p>
            <a:pPr marL="285750" indent="-285750">
              <a:buFont typeface="Arial" pitchFamily="34" charset="0"/>
              <a:buChar char="•"/>
            </a:pPr>
            <a:r>
              <a:rPr lang="nl-NL" sz="1600" dirty="0" smtClean="0"/>
              <a:t>Je </a:t>
            </a:r>
            <a:r>
              <a:rPr lang="nl-NL" sz="1600" dirty="0"/>
              <a:t>kunt ook naar exacte zinnen zoeken (bijvoorbeeld citaten) door de woorden tussen dubbele aanhalingstekens te zetten. Bijvoorbeeld: ”Op een luchtige manier wordt er een beeld geschept voor de zorgmedewerkers over de veranderingen in de (brede) zorg en wat dat voor hen betekent”. Google vindt de site waar dit letterlijk staat. </a:t>
            </a:r>
          </a:p>
          <a:p>
            <a:pPr marL="285750" indent="-285750">
              <a:buFont typeface="Arial" pitchFamily="34" charset="0"/>
              <a:buChar char="•"/>
            </a:pPr>
            <a:r>
              <a:rPr lang="nl-NL" sz="1600" dirty="0" smtClean="0"/>
              <a:t>Wil </a:t>
            </a:r>
            <a:r>
              <a:rPr lang="nl-NL" sz="1600" dirty="0"/>
              <a:t>je een jas kopen tussen de 100 en de 150 euro? Typ dan: jas 100..150 euro. Met twee puntjes </a:t>
            </a:r>
            <a:r>
              <a:rPr lang="nl-NL" sz="1600" dirty="0" smtClean="0"/>
              <a:t>ertussen.</a:t>
            </a:r>
          </a:p>
          <a:p>
            <a:pPr marL="285750" indent="-285750">
              <a:buFont typeface="Arial" pitchFamily="34" charset="0"/>
              <a:buChar char="•"/>
            </a:pPr>
            <a:r>
              <a:rPr lang="nl-NL" sz="1600" dirty="0" smtClean="0"/>
              <a:t>Door </a:t>
            </a:r>
            <a:r>
              <a:rPr lang="nl-NL" sz="1600" dirty="0" err="1"/>
              <a:t>define</a:t>
            </a:r>
            <a:r>
              <a:rPr lang="nl-NL" sz="1600" dirty="0"/>
              <a:t> voor je zoekwoord te typen gaat Google op zoek naar de betekenis van het woord. ‘</a:t>
            </a:r>
            <a:r>
              <a:rPr lang="nl-NL" sz="1600" dirty="0" err="1"/>
              <a:t>Define</a:t>
            </a:r>
            <a:r>
              <a:rPr lang="nl-NL" sz="1600" dirty="0"/>
              <a:t> innovatie’ leid je naar de encyclopedie betekenis. In het Nederlands. </a:t>
            </a:r>
            <a:endParaRPr lang="nl-NL" sz="1600" dirty="0" smtClean="0"/>
          </a:p>
          <a:p>
            <a:pPr marL="285750" indent="-285750">
              <a:buFont typeface="Arial" pitchFamily="34" charset="0"/>
              <a:buChar char="•"/>
            </a:pPr>
            <a:r>
              <a:rPr lang="nl-NL" sz="1600" dirty="0" smtClean="0"/>
              <a:t>Je </a:t>
            </a:r>
            <a:r>
              <a:rPr lang="nl-NL" sz="1600" dirty="0"/>
              <a:t>kunt ook leegtes invullen. Niet in je leven, maar in je geheugen. Hoe gaat het spreekwoord ook al weer? Typ in: ‘met de * in huis vallen’. Google vult het aan met het woordje deur. </a:t>
            </a:r>
            <a:endParaRPr lang="nl-NL" sz="1600" dirty="0" smtClean="0"/>
          </a:p>
          <a:p>
            <a:pPr marL="285750" indent="-285750">
              <a:buFont typeface="Arial" pitchFamily="34" charset="0"/>
              <a:buChar char="•"/>
            </a:pPr>
            <a:r>
              <a:rPr lang="nl-NL" sz="1600" dirty="0" smtClean="0"/>
              <a:t>Zoek </a:t>
            </a:r>
            <a:r>
              <a:rPr lang="nl-NL" sz="1600" dirty="0"/>
              <a:t>je een rapport? Misschien een recente versie er van? Dat wordt vaak in PDF geüpload. Typ dan bijvoorbeeld: eHealth + PDF+ 2019 </a:t>
            </a:r>
            <a:endParaRPr lang="nl-NL" sz="1600" dirty="0" smtClean="0"/>
          </a:p>
          <a:p>
            <a:pPr marL="285750" indent="-285750">
              <a:buFont typeface="Arial" pitchFamily="34" charset="0"/>
              <a:buChar char="•"/>
            </a:pPr>
            <a:r>
              <a:rPr lang="nl-NL" sz="1600" dirty="0" smtClean="0"/>
              <a:t>Ik </a:t>
            </a:r>
            <a:r>
              <a:rPr lang="nl-NL" sz="1600" dirty="0"/>
              <a:t>laat Google ook voor me zoeken! Ik stel Google Alerts in op het onderwerp ‘digitale vaardigheden’ en de combinatiewoorden ‘zorg + toekomst’. Dan stel ik in dat ik dagelijks berichten krijg en ik ontvang een mail van Google met artikelen waar deze woorden in voorkomen. Kijk op https://www.webton.nl/blog/google-alerts.html hoe dat moet, ook als je geen Gmail-account hebt. </a:t>
            </a:r>
          </a:p>
        </p:txBody>
      </p:sp>
      <p:sp>
        <p:nvSpPr>
          <p:cNvPr id="4" name="Rechthoek 3"/>
          <p:cNvSpPr/>
          <p:nvPr/>
        </p:nvSpPr>
        <p:spPr>
          <a:xfrm>
            <a:off x="0" y="6065585"/>
            <a:ext cx="12192000" cy="7924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nl-NL"/>
          </a:p>
        </p:txBody>
      </p:sp>
      <p:pic>
        <p:nvPicPr>
          <p:cNvPr id="5" name="Afbeelding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14993" y="44271"/>
            <a:ext cx="1277007" cy="1277007"/>
          </a:xfrm>
          <a:prstGeom prst="rect">
            <a:avLst/>
          </a:prstGeom>
        </p:spPr>
      </p:pic>
    </p:spTree>
    <p:extLst>
      <p:ext uri="{BB962C8B-B14F-4D97-AF65-F5344CB8AC3E}">
        <p14:creationId xmlns:p14="http://schemas.microsoft.com/office/powerpoint/2010/main" val="964830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 presetClass="exit" presetSubtype="0" fill="hold" nodeType="clickEffect">
                                  <p:stCondLst>
                                    <p:cond delay="0"/>
                                  </p:stCondLst>
                                  <p:childTnLst>
                                    <p:set>
                                      <p:cBhvr>
                                        <p:cTn id="11" dur="1" fill="hold">
                                          <p:stCondLst>
                                            <p:cond delay="0"/>
                                          </p:stCondLst>
                                        </p:cTn>
                                        <p:tgtEl>
                                          <p:spTgt spid="3">
                                            <p:txEl>
                                              <p:pRg st="0" end="0"/>
                                            </p:txEl>
                                          </p:spTgt>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3">
                                            <p:txEl>
                                              <p:pRg st="1" end="1"/>
                                            </p:txEl>
                                          </p:spTgt>
                                        </p:tgtEl>
                                        <p:attrNameLst>
                                          <p:attrName>style.visibility</p:attrName>
                                        </p:attrNameLst>
                                      </p:cBhvr>
                                      <p:to>
                                        <p:strVal val="visible"/>
                                      </p:to>
                                    </p:set>
                                    <p:animEffect transition="in" filter="fade">
                                      <p:cBhvr>
                                        <p:cTn id="16" dur="500"/>
                                        <p:tgtEl>
                                          <p:spTgt spid="3">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 presetClass="exit" presetSubtype="0" fill="hold" nodeType="clickEffect">
                                  <p:stCondLst>
                                    <p:cond delay="0"/>
                                  </p:stCondLst>
                                  <p:childTnLst>
                                    <p:set>
                                      <p:cBhvr>
                                        <p:cTn id="20" dur="1" fill="hold">
                                          <p:stCondLst>
                                            <p:cond delay="0"/>
                                          </p:stCondLst>
                                        </p:cTn>
                                        <p:tgtEl>
                                          <p:spTgt spid="3">
                                            <p:txEl>
                                              <p:pRg st="1" end="1"/>
                                            </p:txEl>
                                          </p:spTgt>
                                        </p:tgtEl>
                                        <p:attrNameLst>
                                          <p:attrName>style.visibility</p:attrName>
                                        </p:attrNameLst>
                                      </p:cBhvr>
                                      <p:to>
                                        <p:strVal val="hidden"/>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nodeType="clickEffect">
                                  <p:stCondLst>
                                    <p:cond delay="0"/>
                                  </p:stCondLst>
                                  <p:childTnLst>
                                    <p:set>
                                      <p:cBhvr>
                                        <p:cTn id="28" dur="1" fill="hold">
                                          <p:stCondLst>
                                            <p:cond delay="0"/>
                                          </p:stCondLst>
                                        </p:cTn>
                                        <p:tgtEl>
                                          <p:spTgt spid="3">
                                            <p:txEl>
                                              <p:pRg st="2" end="2"/>
                                            </p:txEl>
                                          </p:spTgt>
                                        </p:tgtEl>
                                        <p:attrNameLst>
                                          <p:attrName>style.visibility</p:attrName>
                                        </p:attrNameLst>
                                      </p:cBhvr>
                                      <p:to>
                                        <p:strVal val="hidden"/>
                                      </p:to>
                                    </p:se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3">
                                            <p:txEl>
                                              <p:pRg st="3" end="3"/>
                                            </p:txEl>
                                          </p:spTgt>
                                        </p:tgtEl>
                                        <p:attrNameLst>
                                          <p:attrName>style.visibility</p:attrName>
                                        </p:attrNameLst>
                                      </p:cBhvr>
                                      <p:to>
                                        <p:strVal val="visible"/>
                                      </p:to>
                                    </p:set>
                                    <p:animEffect transition="in" filter="fade">
                                      <p:cBhvr>
                                        <p:cTn id="33" dur="500"/>
                                        <p:tgtEl>
                                          <p:spTgt spid="3">
                                            <p:txEl>
                                              <p:pRg st="3" end="3"/>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 presetClass="exit" presetSubtype="0" fill="hold" nodeType="clickEffect">
                                  <p:stCondLst>
                                    <p:cond delay="0"/>
                                  </p:stCondLst>
                                  <p:childTnLst>
                                    <p:set>
                                      <p:cBhvr>
                                        <p:cTn id="37" dur="1" fill="hold">
                                          <p:stCondLst>
                                            <p:cond delay="0"/>
                                          </p:stCondLst>
                                        </p:cTn>
                                        <p:tgtEl>
                                          <p:spTgt spid="3">
                                            <p:txEl>
                                              <p:pRg st="3" end="3"/>
                                            </p:txEl>
                                          </p:spTgt>
                                        </p:tgtEl>
                                        <p:attrNameLst>
                                          <p:attrName>style.visibility</p:attrName>
                                        </p:attrNameLst>
                                      </p:cBhvr>
                                      <p:to>
                                        <p:strVal val="hidden"/>
                                      </p:to>
                                    </p:se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
                                            <p:txEl>
                                              <p:pRg st="4" end="4"/>
                                            </p:txEl>
                                          </p:spTgt>
                                        </p:tgtEl>
                                        <p:attrNameLst>
                                          <p:attrName>style.visibility</p:attrName>
                                        </p:attrNameLst>
                                      </p:cBhvr>
                                      <p:to>
                                        <p:strVal val="visible"/>
                                      </p:to>
                                    </p:set>
                                    <p:animEffect transition="in" filter="fade">
                                      <p:cBhvr>
                                        <p:cTn id="42" dur="500"/>
                                        <p:tgtEl>
                                          <p:spTgt spid="3">
                                            <p:txEl>
                                              <p:pRg st="4" end="4"/>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 presetClass="exit" presetSubtype="0" fill="hold" nodeType="clickEffect">
                                  <p:stCondLst>
                                    <p:cond delay="0"/>
                                  </p:stCondLst>
                                  <p:childTnLst>
                                    <p:set>
                                      <p:cBhvr>
                                        <p:cTn id="46" dur="1" fill="hold">
                                          <p:stCondLst>
                                            <p:cond delay="0"/>
                                          </p:stCondLst>
                                        </p:cTn>
                                        <p:tgtEl>
                                          <p:spTgt spid="3">
                                            <p:txEl>
                                              <p:pRg st="4" end="4"/>
                                            </p:txEl>
                                          </p:spTgt>
                                        </p:tgtEl>
                                        <p:attrNameLst>
                                          <p:attrName>style.visibility</p:attrName>
                                        </p:attrNameLst>
                                      </p:cBhvr>
                                      <p:to>
                                        <p:strVal val="hidden"/>
                                      </p:to>
                                    </p:se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3">
                                            <p:txEl>
                                              <p:pRg st="5" end="5"/>
                                            </p:txEl>
                                          </p:spTgt>
                                        </p:tgtEl>
                                        <p:attrNameLst>
                                          <p:attrName>style.visibility</p:attrName>
                                        </p:attrNameLst>
                                      </p:cBhvr>
                                      <p:to>
                                        <p:strVal val="visible"/>
                                      </p:to>
                                    </p:set>
                                    <p:animEffect transition="in" filter="fade">
                                      <p:cBhvr>
                                        <p:cTn id="51" dur="500"/>
                                        <p:tgtEl>
                                          <p:spTgt spid="3">
                                            <p:txEl>
                                              <p:pRg st="5" end="5"/>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1" presetClass="exit" presetSubtype="0" fill="hold" nodeType="clickEffect">
                                  <p:stCondLst>
                                    <p:cond delay="0"/>
                                  </p:stCondLst>
                                  <p:childTnLst>
                                    <p:set>
                                      <p:cBhvr>
                                        <p:cTn id="55" dur="1" fill="hold">
                                          <p:stCondLst>
                                            <p:cond delay="0"/>
                                          </p:stCondLst>
                                        </p:cTn>
                                        <p:tgtEl>
                                          <p:spTgt spid="3">
                                            <p:txEl>
                                              <p:pRg st="5" end="5"/>
                                            </p:txEl>
                                          </p:spTgt>
                                        </p:tgtEl>
                                        <p:attrNameLst>
                                          <p:attrName>style.visibility</p:attrName>
                                        </p:attrNameLst>
                                      </p:cBhvr>
                                      <p:to>
                                        <p:strVal val="hidden"/>
                                      </p:to>
                                    </p:se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3">
                                            <p:txEl>
                                              <p:pRg st="6" end="6"/>
                                            </p:txEl>
                                          </p:spTgt>
                                        </p:tgtEl>
                                        <p:attrNameLst>
                                          <p:attrName>style.visibility</p:attrName>
                                        </p:attrNameLst>
                                      </p:cBhvr>
                                      <p:to>
                                        <p:strVal val="visible"/>
                                      </p:to>
                                    </p:set>
                                    <p:animEffect transition="in" filter="fade">
                                      <p:cBhvr>
                                        <p:cTn id="60" dur="500"/>
                                        <p:tgtEl>
                                          <p:spTgt spid="3">
                                            <p:txEl>
                                              <p:pRg st="6" end="6"/>
                                            </p:txEl>
                                          </p:spTgt>
                                        </p:tgtEl>
                                      </p:cBhvr>
                                    </p:animEffect>
                                  </p:childTnLst>
                                </p:cTn>
                              </p:par>
                            </p:childTnLst>
                          </p:cTn>
                        </p:par>
                      </p:childTnLst>
                    </p:cTn>
                  </p:par>
                  <p:par>
                    <p:cTn id="61" fill="hold">
                      <p:stCondLst>
                        <p:cond delay="indefinite"/>
                      </p:stCondLst>
                      <p:childTnLst>
                        <p:par>
                          <p:cTn id="62" fill="hold">
                            <p:stCondLst>
                              <p:cond delay="0"/>
                            </p:stCondLst>
                            <p:childTnLst>
                              <p:par>
                                <p:cTn id="63" presetID="1" presetClass="exit" presetSubtype="0" fill="hold" nodeType="clickEffect">
                                  <p:stCondLst>
                                    <p:cond delay="0"/>
                                  </p:stCondLst>
                                  <p:childTnLst>
                                    <p:set>
                                      <p:cBhvr>
                                        <p:cTn id="64" dur="1" fill="hold">
                                          <p:stCondLst>
                                            <p:cond delay="0"/>
                                          </p:stCondLst>
                                        </p:cTn>
                                        <p:tgtEl>
                                          <p:spTgt spid="3">
                                            <p:txEl>
                                              <p:pRg st="6" end="6"/>
                                            </p:txEl>
                                          </p:spTgt>
                                        </p:tgtEl>
                                        <p:attrNameLst>
                                          <p:attrName>style.visibility</p:attrName>
                                        </p:attrNameLst>
                                      </p:cBhvr>
                                      <p:to>
                                        <p:strVal val="hidden"/>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nodeType="clickEffect">
                                  <p:stCondLst>
                                    <p:cond delay="0"/>
                                  </p:stCondLst>
                                  <p:childTnLst>
                                    <p:set>
                                      <p:cBhvr>
                                        <p:cTn id="68" dur="1" fill="hold">
                                          <p:stCondLst>
                                            <p:cond delay="0"/>
                                          </p:stCondLst>
                                        </p:cTn>
                                        <p:tgtEl>
                                          <p:spTgt spid="3">
                                            <p:txEl>
                                              <p:pRg st="0" end="0"/>
                                            </p:txEl>
                                          </p:spTgt>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3">
                                            <p:txEl>
                                              <p:pRg st="1" end="1"/>
                                            </p:txEl>
                                          </p:spTgt>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3">
                                            <p:txEl>
                                              <p:pRg st="2" end="2"/>
                                            </p:txEl>
                                          </p:spTgt>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3">
                                            <p:txEl>
                                              <p:pRg st="3" end="3"/>
                                            </p:txEl>
                                          </p:spTgt>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3">
                                            <p:txEl>
                                              <p:pRg st="4" end="4"/>
                                            </p:txEl>
                                          </p:spTgt>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3">
                                            <p:txEl>
                                              <p:pRg st="5" end="5"/>
                                            </p:txEl>
                                          </p:spTgt>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Blind typen</a:t>
            </a:r>
            <a:endParaRPr lang="nl-NL" dirty="0"/>
          </a:p>
        </p:txBody>
      </p:sp>
      <p:pic>
        <p:nvPicPr>
          <p:cNvPr id="3174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b="5177"/>
          <a:stretch/>
        </p:blipFill>
        <p:spPr bwMode="auto">
          <a:xfrm>
            <a:off x="5098942" y="1836550"/>
            <a:ext cx="6106332" cy="36188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kstvak 2"/>
          <p:cNvSpPr txBox="1"/>
          <p:nvPr/>
        </p:nvSpPr>
        <p:spPr>
          <a:xfrm>
            <a:off x="929898" y="2448732"/>
            <a:ext cx="3301139" cy="1107996"/>
          </a:xfrm>
          <a:prstGeom prst="rect">
            <a:avLst/>
          </a:prstGeom>
          <a:noFill/>
        </p:spPr>
        <p:txBody>
          <a:bodyPr wrap="square" lIns="0" tIns="0" rIns="0" bIns="0" rtlCol="0">
            <a:spAutoFit/>
          </a:bodyPr>
          <a:lstStyle/>
          <a:p>
            <a:pPr algn="l"/>
            <a:r>
              <a:rPr lang="nl-NL" dirty="0" smtClean="0"/>
              <a:t>Het vraagt even discipline….maar </a:t>
            </a:r>
            <a:r>
              <a:rPr lang="nl-NL" dirty="0" smtClean="0">
                <a:hlinkClick r:id="rId4"/>
              </a:rPr>
              <a:t>www.gratislerentypen.nl</a:t>
            </a:r>
            <a:r>
              <a:rPr lang="nl-NL" dirty="0" smtClean="0"/>
              <a:t> </a:t>
            </a:r>
            <a:endParaRPr lang="nl-NL" dirty="0"/>
          </a:p>
        </p:txBody>
      </p:sp>
      <p:sp>
        <p:nvSpPr>
          <p:cNvPr id="5" name="Rechthoek 4"/>
          <p:cNvSpPr/>
          <p:nvPr/>
        </p:nvSpPr>
        <p:spPr>
          <a:xfrm>
            <a:off x="0" y="6065585"/>
            <a:ext cx="12192000" cy="7924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nl-NL"/>
          </a:p>
        </p:txBody>
      </p:sp>
      <p:pic>
        <p:nvPicPr>
          <p:cNvPr id="6" name="Afbeelding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14993" y="44271"/>
            <a:ext cx="1277007" cy="1277007"/>
          </a:xfrm>
          <a:prstGeom prst="rect">
            <a:avLst/>
          </a:prstGeom>
        </p:spPr>
      </p:pic>
    </p:spTree>
    <p:extLst>
      <p:ext uri="{BB962C8B-B14F-4D97-AF65-F5344CB8AC3E}">
        <p14:creationId xmlns:p14="http://schemas.microsoft.com/office/powerpoint/2010/main" val="790339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err="1" smtClean="0"/>
              <a:t>If</a:t>
            </a:r>
            <a:r>
              <a:rPr lang="nl-NL" dirty="0" smtClean="0"/>
              <a:t> </a:t>
            </a:r>
            <a:r>
              <a:rPr lang="nl-NL" dirty="0" err="1" smtClean="0"/>
              <a:t>This</a:t>
            </a:r>
            <a:r>
              <a:rPr lang="nl-NL" dirty="0" smtClean="0"/>
              <a:t> </a:t>
            </a:r>
            <a:r>
              <a:rPr lang="nl-NL" dirty="0" err="1" smtClean="0"/>
              <a:t>Than</a:t>
            </a:r>
            <a:r>
              <a:rPr lang="nl-NL" dirty="0" smtClean="0"/>
              <a:t> </a:t>
            </a:r>
            <a:r>
              <a:rPr lang="nl-NL" dirty="0" err="1" smtClean="0"/>
              <a:t>That</a:t>
            </a:r>
            <a:r>
              <a:rPr lang="nl-NL" dirty="0" smtClean="0"/>
              <a:t> (IFTT)</a:t>
            </a:r>
            <a:endParaRPr lang="nl-NL" dirty="0"/>
          </a:p>
        </p:txBody>
      </p:sp>
      <p:sp>
        <p:nvSpPr>
          <p:cNvPr id="3" name="Rechthoek 2"/>
          <p:cNvSpPr/>
          <p:nvPr/>
        </p:nvSpPr>
        <p:spPr>
          <a:xfrm>
            <a:off x="1728788" y="2154824"/>
            <a:ext cx="9758361" cy="3046988"/>
          </a:xfrm>
          <a:prstGeom prst="rect">
            <a:avLst/>
          </a:prstGeom>
        </p:spPr>
        <p:txBody>
          <a:bodyPr wrap="square">
            <a:spAutoFit/>
          </a:bodyPr>
          <a:lstStyle/>
          <a:p>
            <a:r>
              <a:rPr lang="nl-NL" dirty="0">
                <a:solidFill>
                  <a:srgbClr val="000000"/>
                </a:solidFill>
                <a:latin typeface="Lato-Regular"/>
              </a:rPr>
              <a:t>Met '</a:t>
            </a:r>
            <a:r>
              <a:rPr lang="nl-NL" dirty="0" err="1">
                <a:solidFill>
                  <a:srgbClr val="000000"/>
                </a:solidFill>
                <a:latin typeface="Lato-Regular"/>
              </a:rPr>
              <a:t>If</a:t>
            </a:r>
            <a:r>
              <a:rPr lang="nl-NL" dirty="0">
                <a:solidFill>
                  <a:srgbClr val="000000"/>
                </a:solidFill>
                <a:latin typeface="Lato-Regular"/>
              </a:rPr>
              <a:t> </a:t>
            </a:r>
            <a:r>
              <a:rPr lang="nl-NL" dirty="0" err="1">
                <a:solidFill>
                  <a:srgbClr val="000000"/>
                </a:solidFill>
                <a:latin typeface="Lato-Regular"/>
              </a:rPr>
              <a:t>This</a:t>
            </a:r>
            <a:r>
              <a:rPr lang="nl-NL" dirty="0">
                <a:solidFill>
                  <a:srgbClr val="000000"/>
                </a:solidFill>
                <a:latin typeface="Lato-Regular"/>
              </a:rPr>
              <a:t> </a:t>
            </a:r>
            <a:r>
              <a:rPr lang="nl-NL" dirty="0" err="1">
                <a:solidFill>
                  <a:srgbClr val="000000"/>
                </a:solidFill>
                <a:latin typeface="Lato-Regular"/>
              </a:rPr>
              <a:t>Then</a:t>
            </a:r>
            <a:r>
              <a:rPr lang="nl-NL" dirty="0">
                <a:solidFill>
                  <a:srgbClr val="000000"/>
                </a:solidFill>
                <a:latin typeface="Lato-Regular"/>
              </a:rPr>
              <a:t> </a:t>
            </a:r>
            <a:r>
              <a:rPr lang="nl-NL" dirty="0" err="1">
                <a:solidFill>
                  <a:srgbClr val="000000"/>
                </a:solidFill>
                <a:latin typeface="Lato-Regular"/>
              </a:rPr>
              <a:t>That</a:t>
            </a:r>
            <a:r>
              <a:rPr lang="nl-NL" dirty="0">
                <a:solidFill>
                  <a:srgbClr val="000000"/>
                </a:solidFill>
                <a:latin typeface="Lato-Regular"/>
              </a:rPr>
              <a:t>' automatiseer je handelingen door</a:t>
            </a:r>
            <a:br>
              <a:rPr lang="nl-NL" dirty="0">
                <a:solidFill>
                  <a:srgbClr val="000000"/>
                </a:solidFill>
                <a:latin typeface="Lato-Regular"/>
              </a:rPr>
            </a:br>
            <a:r>
              <a:rPr lang="nl-NL" dirty="0">
                <a:solidFill>
                  <a:srgbClr val="000000"/>
                </a:solidFill>
                <a:latin typeface="Lato-Regular"/>
              </a:rPr>
              <a:t>verschillende apps/ programma's aan elkaar te koppelen. </a:t>
            </a:r>
            <a:endParaRPr lang="nl-NL" dirty="0" smtClean="0">
              <a:solidFill>
                <a:srgbClr val="000000"/>
              </a:solidFill>
              <a:latin typeface="Lato-Regular"/>
            </a:endParaRPr>
          </a:p>
          <a:p>
            <a:r>
              <a:rPr lang="nl-NL" dirty="0" smtClean="0">
                <a:solidFill>
                  <a:srgbClr val="000000"/>
                </a:solidFill>
                <a:latin typeface="Lato-Regular"/>
              </a:rPr>
              <a:t>Zo kun </a:t>
            </a:r>
            <a:r>
              <a:rPr lang="nl-NL" dirty="0">
                <a:solidFill>
                  <a:srgbClr val="000000"/>
                </a:solidFill>
                <a:latin typeface="Lato-Regular"/>
              </a:rPr>
              <a:t>je b.v. kilometers automatisch registeren via google</a:t>
            </a:r>
            <a:br>
              <a:rPr lang="nl-NL" dirty="0">
                <a:solidFill>
                  <a:srgbClr val="000000"/>
                </a:solidFill>
                <a:latin typeface="Lato-Regular"/>
              </a:rPr>
            </a:br>
            <a:r>
              <a:rPr lang="nl-NL" dirty="0" err="1">
                <a:solidFill>
                  <a:srgbClr val="000000"/>
                </a:solidFill>
                <a:latin typeface="Lato-Regular"/>
              </a:rPr>
              <a:t>maps</a:t>
            </a:r>
            <a:r>
              <a:rPr lang="nl-NL" dirty="0">
                <a:solidFill>
                  <a:srgbClr val="000000"/>
                </a:solidFill>
                <a:latin typeface="Lato-Regular"/>
              </a:rPr>
              <a:t> en Google Drive of je smartphone op trillen zetten</a:t>
            </a:r>
            <a:br>
              <a:rPr lang="nl-NL" dirty="0">
                <a:solidFill>
                  <a:srgbClr val="000000"/>
                </a:solidFill>
                <a:latin typeface="Lato-Regular"/>
              </a:rPr>
            </a:br>
            <a:r>
              <a:rPr lang="nl-NL" dirty="0">
                <a:solidFill>
                  <a:srgbClr val="000000"/>
                </a:solidFill>
                <a:latin typeface="Lato-Regular"/>
              </a:rPr>
              <a:t>zodra je op kantoor arriveert. Er zijn duizenden apps aan</a:t>
            </a:r>
            <a:br>
              <a:rPr lang="nl-NL" dirty="0">
                <a:solidFill>
                  <a:srgbClr val="000000"/>
                </a:solidFill>
                <a:latin typeface="Lato-Regular"/>
              </a:rPr>
            </a:br>
            <a:r>
              <a:rPr lang="nl-NL" dirty="0">
                <a:solidFill>
                  <a:srgbClr val="000000"/>
                </a:solidFill>
                <a:latin typeface="Lato-Regular"/>
              </a:rPr>
              <a:t>elkaar te koppelen waardoor je vrijwel alles kunt</a:t>
            </a:r>
            <a:br>
              <a:rPr lang="nl-NL" dirty="0">
                <a:solidFill>
                  <a:srgbClr val="000000"/>
                </a:solidFill>
                <a:latin typeface="Lato-Regular"/>
              </a:rPr>
            </a:br>
            <a:r>
              <a:rPr lang="nl-NL" dirty="0">
                <a:solidFill>
                  <a:srgbClr val="000000"/>
                </a:solidFill>
                <a:latin typeface="Lato-Regular"/>
              </a:rPr>
              <a:t>automatiseren op je smartphone of tablet.</a:t>
            </a:r>
            <a:r>
              <a:rPr lang="nl-NL" dirty="0"/>
              <a:t> </a:t>
            </a:r>
            <a:br>
              <a:rPr lang="nl-NL" dirty="0"/>
            </a:br>
            <a:endParaRPr lang="nl-NL" dirty="0"/>
          </a:p>
        </p:txBody>
      </p:sp>
      <p:pic>
        <p:nvPicPr>
          <p:cNvPr id="4" name="Afbeelding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19640" y="-436599"/>
            <a:ext cx="6603436" cy="2974848"/>
          </a:xfrm>
          <a:prstGeom prst="rect">
            <a:avLst/>
          </a:prstGeom>
        </p:spPr>
      </p:pic>
      <p:sp>
        <p:nvSpPr>
          <p:cNvPr id="5" name="Rechthoek 4"/>
          <p:cNvSpPr/>
          <p:nvPr/>
        </p:nvSpPr>
        <p:spPr>
          <a:xfrm>
            <a:off x="0" y="6065585"/>
            <a:ext cx="12192000" cy="7924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nl-NL"/>
          </a:p>
        </p:txBody>
      </p:sp>
      <p:pic>
        <p:nvPicPr>
          <p:cNvPr id="6" name="Afbeelding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94649" y="4688855"/>
            <a:ext cx="1277007" cy="1277007"/>
          </a:xfrm>
          <a:prstGeom prst="rect">
            <a:avLst/>
          </a:prstGeom>
        </p:spPr>
      </p:pic>
    </p:spTree>
    <p:extLst>
      <p:ext uri="{BB962C8B-B14F-4D97-AF65-F5344CB8AC3E}">
        <p14:creationId xmlns:p14="http://schemas.microsoft.com/office/powerpoint/2010/main" val="679679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err="1" smtClean="0"/>
              <a:t>Feedly</a:t>
            </a:r>
            <a:r>
              <a:rPr lang="nl-NL" dirty="0" smtClean="0"/>
              <a:t>, relevant nieuws</a:t>
            </a:r>
            <a:endParaRPr lang="nl-NL" dirty="0"/>
          </a:p>
        </p:txBody>
      </p:sp>
      <p:sp>
        <p:nvSpPr>
          <p:cNvPr id="3" name="Tekstvak 2"/>
          <p:cNvSpPr txBox="1"/>
          <p:nvPr/>
        </p:nvSpPr>
        <p:spPr>
          <a:xfrm>
            <a:off x="1263112" y="2224007"/>
            <a:ext cx="4951708" cy="1846659"/>
          </a:xfrm>
          <a:prstGeom prst="rect">
            <a:avLst/>
          </a:prstGeom>
          <a:noFill/>
        </p:spPr>
        <p:txBody>
          <a:bodyPr wrap="square" lIns="0" tIns="0" rIns="0" bIns="0" rtlCol="0">
            <a:spAutoFit/>
          </a:bodyPr>
          <a:lstStyle/>
          <a:p>
            <a:r>
              <a:rPr lang="nl-NL" dirty="0" err="1"/>
              <a:t>Feedly</a:t>
            </a:r>
            <a:r>
              <a:rPr lang="nl-NL" dirty="0"/>
              <a:t> is een app die een koppeling maakt met onder andere Google Reader, Tumblr en Twitter die alle nieuwsberichten op een prachtige manier weergeeft.</a:t>
            </a:r>
          </a:p>
        </p:txBody>
      </p:sp>
      <p:pic>
        <p:nvPicPr>
          <p:cNvPr id="32772" name="Picture 4" descr="Afbeeldingsresultaat voor feedly nl">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68559" y="1627322"/>
            <a:ext cx="2858844" cy="3811792"/>
          </a:xfrm>
          <a:prstGeom prst="rect">
            <a:avLst/>
          </a:prstGeom>
          <a:noFill/>
          <a:extLst>
            <a:ext uri="{909E8E84-426E-40DD-AFC4-6F175D3DCCD1}">
              <a14:hiddenFill xmlns:a14="http://schemas.microsoft.com/office/drawing/2010/main">
                <a:solidFill>
                  <a:srgbClr val="FFFFFF"/>
                </a:solidFill>
              </a14:hiddenFill>
            </a:ext>
          </a:extLst>
        </p:spPr>
      </p:pic>
      <p:sp>
        <p:nvSpPr>
          <p:cNvPr id="5" name="Rechthoek 4"/>
          <p:cNvSpPr/>
          <p:nvPr/>
        </p:nvSpPr>
        <p:spPr>
          <a:xfrm>
            <a:off x="0" y="6065585"/>
            <a:ext cx="12192000" cy="7924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nl-NL"/>
          </a:p>
        </p:txBody>
      </p:sp>
      <p:pic>
        <p:nvPicPr>
          <p:cNvPr id="6" name="Afbeelding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14993" y="44271"/>
            <a:ext cx="1277007" cy="1277007"/>
          </a:xfrm>
          <a:prstGeom prst="rect">
            <a:avLst/>
          </a:prstGeom>
        </p:spPr>
      </p:pic>
    </p:spTree>
    <p:extLst>
      <p:ext uri="{BB962C8B-B14F-4D97-AF65-F5344CB8AC3E}">
        <p14:creationId xmlns:p14="http://schemas.microsoft.com/office/powerpoint/2010/main" val="1758624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Podcasts voor onderweg</a:t>
            </a:r>
            <a:endParaRPr lang="nl-NL" dirty="0"/>
          </a:p>
        </p:txBody>
      </p:sp>
      <p:sp>
        <p:nvSpPr>
          <p:cNvPr id="3" name="Tekstvak 2"/>
          <p:cNvSpPr txBox="1"/>
          <p:nvPr/>
        </p:nvSpPr>
        <p:spPr>
          <a:xfrm>
            <a:off x="968645" y="2022529"/>
            <a:ext cx="5889356" cy="3693319"/>
          </a:xfrm>
          <a:prstGeom prst="rect">
            <a:avLst/>
          </a:prstGeom>
          <a:noFill/>
        </p:spPr>
        <p:txBody>
          <a:bodyPr wrap="square" lIns="0" tIns="0" rIns="0" bIns="0" rtlCol="0">
            <a:spAutoFit/>
          </a:bodyPr>
          <a:lstStyle/>
          <a:p>
            <a:pPr algn="l"/>
            <a:r>
              <a:rPr lang="nl-NL" b="1" dirty="0" smtClean="0"/>
              <a:t>NPO radio 1 app:</a:t>
            </a:r>
          </a:p>
          <a:p>
            <a:pPr algn="l"/>
            <a:r>
              <a:rPr lang="nl-NL" dirty="0" smtClean="0"/>
              <a:t>De brand in het landhuis</a:t>
            </a:r>
          </a:p>
          <a:p>
            <a:pPr algn="l"/>
            <a:r>
              <a:rPr lang="nl-NL" dirty="0" smtClean="0"/>
              <a:t>De moord op Patrick</a:t>
            </a:r>
          </a:p>
          <a:p>
            <a:pPr algn="l"/>
            <a:r>
              <a:rPr lang="nl-NL" dirty="0" smtClean="0"/>
              <a:t>Waarom?</a:t>
            </a:r>
          </a:p>
          <a:p>
            <a:pPr algn="l"/>
            <a:r>
              <a:rPr lang="nl-NL" dirty="0" smtClean="0"/>
              <a:t>Tante Jos</a:t>
            </a:r>
          </a:p>
          <a:p>
            <a:pPr algn="l"/>
            <a:r>
              <a:rPr lang="nl-NL" dirty="0" err="1" smtClean="0"/>
              <a:t>Future</a:t>
            </a:r>
            <a:r>
              <a:rPr lang="nl-NL" dirty="0" smtClean="0"/>
              <a:t> of Healthcare</a:t>
            </a:r>
          </a:p>
          <a:p>
            <a:pPr algn="l"/>
            <a:endParaRPr lang="nl-NL" dirty="0"/>
          </a:p>
          <a:p>
            <a:pPr algn="l"/>
            <a:r>
              <a:rPr lang="nl-NL" b="1" dirty="0" smtClean="0"/>
              <a:t>VPRO</a:t>
            </a:r>
          </a:p>
          <a:p>
            <a:pPr algn="l"/>
            <a:r>
              <a:rPr lang="nl-NL" dirty="0" smtClean="0"/>
              <a:t>Bob</a:t>
            </a:r>
          </a:p>
          <a:p>
            <a:pPr algn="l"/>
            <a:endParaRPr lang="nl-NL" dirty="0" smtClean="0"/>
          </a:p>
        </p:txBody>
      </p:sp>
      <p:pic>
        <p:nvPicPr>
          <p:cNvPr id="33794" name="Picture 2" descr="Afbeeldingsresultaat voor podcast npo radio 1">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24526" y="2708786"/>
            <a:ext cx="2266950" cy="1524001"/>
          </a:xfrm>
          <a:prstGeom prst="rect">
            <a:avLst/>
          </a:prstGeom>
          <a:noFill/>
          <a:extLst>
            <a:ext uri="{909E8E84-426E-40DD-AFC4-6F175D3DCCD1}">
              <a14:hiddenFill xmlns:a14="http://schemas.microsoft.com/office/drawing/2010/main">
                <a:solidFill>
                  <a:srgbClr val="FFFFFF"/>
                </a:solidFill>
              </a14:hiddenFill>
            </a:ext>
          </a:extLst>
        </p:spPr>
      </p:pic>
      <p:pic>
        <p:nvPicPr>
          <p:cNvPr id="33796" name="Picture 4" descr="Afbeeldingsresultaat voor podcast app">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725546" y="2425027"/>
            <a:ext cx="1807760" cy="1807760"/>
          </a:xfrm>
          <a:prstGeom prst="rect">
            <a:avLst/>
          </a:prstGeom>
          <a:noFill/>
          <a:extLst>
            <a:ext uri="{909E8E84-426E-40DD-AFC4-6F175D3DCCD1}">
              <a14:hiddenFill xmlns:a14="http://schemas.microsoft.com/office/drawing/2010/main">
                <a:solidFill>
                  <a:srgbClr val="FFFFFF"/>
                </a:solidFill>
              </a14:hiddenFill>
            </a:ext>
          </a:extLst>
        </p:spPr>
      </p:pic>
      <p:sp>
        <p:nvSpPr>
          <p:cNvPr id="6" name="Rechthoek 5"/>
          <p:cNvSpPr/>
          <p:nvPr/>
        </p:nvSpPr>
        <p:spPr>
          <a:xfrm>
            <a:off x="0" y="6065585"/>
            <a:ext cx="12192000" cy="7924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nl-NL"/>
          </a:p>
        </p:txBody>
      </p:sp>
      <p:pic>
        <p:nvPicPr>
          <p:cNvPr id="7" name="Afbeelding 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14993" y="44271"/>
            <a:ext cx="1277007" cy="1277007"/>
          </a:xfrm>
          <a:prstGeom prst="rect">
            <a:avLst/>
          </a:prstGeom>
        </p:spPr>
      </p:pic>
    </p:spTree>
    <p:extLst>
      <p:ext uri="{BB962C8B-B14F-4D97-AF65-F5344CB8AC3E}">
        <p14:creationId xmlns:p14="http://schemas.microsoft.com/office/powerpoint/2010/main" val="1435240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itel 5">
            <a:extLst>
              <a:ext uri="{FF2B5EF4-FFF2-40B4-BE49-F238E27FC236}">
                <a16:creationId xmlns="" xmlns:a16="http://schemas.microsoft.com/office/drawing/2014/main" id="{E6633DB4-6922-48EE-85AA-5F323BC071D7}"/>
              </a:ext>
            </a:extLst>
          </p:cNvPr>
          <p:cNvSpPr>
            <a:spLocks noGrp="1"/>
          </p:cNvSpPr>
          <p:nvPr>
            <p:ph type="title"/>
          </p:nvPr>
        </p:nvSpPr>
        <p:spPr>
          <a:xfrm>
            <a:off x="-3509962" y="390514"/>
            <a:ext cx="10515600" cy="830997"/>
          </a:xfrm>
        </p:spPr>
        <p:txBody>
          <a:bodyPr/>
          <a:lstStyle/>
          <a:p>
            <a:pPr algn="ctr"/>
            <a:r>
              <a:rPr lang="nl-NL" sz="6000" b="1" dirty="0" smtClean="0"/>
              <a:t>Ambitie</a:t>
            </a:r>
            <a:endParaRPr lang="nl-NL" sz="6000" b="1" dirty="0"/>
          </a:p>
        </p:txBody>
      </p:sp>
      <p:sp>
        <p:nvSpPr>
          <p:cNvPr id="7" name="Rechthoek 6"/>
          <p:cNvSpPr/>
          <p:nvPr/>
        </p:nvSpPr>
        <p:spPr>
          <a:xfrm>
            <a:off x="0" y="1513490"/>
            <a:ext cx="12192000" cy="534451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nl-NL"/>
          </a:p>
        </p:txBody>
      </p:sp>
      <p:sp>
        <p:nvSpPr>
          <p:cNvPr id="4" name="Tekstvak 3"/>
          <p:cNvSpPr txBox="1"/>
          <p:nvPr/>
        </p:nvSpPr>
        <p:spPr>
          <a:xfrm>
            <a:off x="1747838" y="2928446"/>
            <a:ext cx="10444162" cy="3323987"/>
          </a:xfrm>
          <a:prstGeom prst="rect">
            <a:avLst/>
          </a:prstGeom>
          <a:noFill/>
        </p:spPr>
        <p:txBody>
          <a:bodyPr wrap="square" lIns="0" tIns="0" rIns="0" bIns="0" rtlCol="0">
            <a:spAutoFit/>
          </a:bodyPr>
          <a:lstStyle/>
          <a:p>
            <a:pPr algn="l"/>
            <a:r>
              <a:rPr lang="nl-NL" sz="5400" b="1" dirty="0" smtClean="0">
                <a:solidFill>
                  <a:schemeClr val="bg1"/>
                </a:solidFill>
              </a:rPr>
              <a:t>Iedereen digitaal vaardig!</a:t>
            </a:r>
          </a:p>
          <a:p>
            <a:pPr algn="l"/>
            <a:r>
              <a:rPr lang="nl-NL" sz="5400" b="1" dirty="0" smtClean="0">
                <a:solidFill>
                  <a:schemeClr val="bg1"/>
                </a:solidFill>
              </a:rPr>
              <a:t>Van schoonmaker tot bestuurder.</a:t>
            </a:r>
            <a:endParaRPr lang="nl-NL" sz="5400" dirty="0" smtClean="0">
              <a:solidFill>
                <a:schemeClr val="bg1"/>
              </a:solidFill>
            </a:endParaRPr>
          </a:p>
          <a:p>
            <a:pPr marL="342900" indent="-342900" algn="l">
              <a:buFontTx/>
              <a:buChar char="-"/>
            </a:pPr>
            <a:endParaRPr lang="nl-NL" sz="5400" dirty="0" smtClean="0">
              <a:solidFill>
                <a:schemeClr val="bg1"/>
              </a:solidFill>
            </a:endParaRPr>
          </a:p>
          <a:p>
            <a:pPr algn="l"/>
            <a:endParaRPr lang="nl-NL" sz="5400" dirty="0">
              <a:solidFill>
                <a:schemeClr val="bg1"/>
              </a:solidFill>
            </a:endParaRPr>
          </a:p>
        </p:txBody>
      </p:sp>
      <p:pic>
        <p:nvPicPr>
          <p:cNvPr id="8" name="Afbeelding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14993" y="44271"/>
            <a:ext cx="1277007" cy="1277007"/>
          </a:xfrm>
          <a:prstGeom prst="rect">
            <a:avLst/>
          </a:prstGeom>
        </p:spPr>
      </p:pic>
    </p:spTree>
    <p:extLst>
      <p:ext uri="{BB962C8B-B14F-4D97-AF65-F5344CB8AC3E}">
        <p14:creationId xmlns:p14="http://schemas.microsoft.com/office/powerpoint/2010/main" val="814392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Automodus (niet storen tijdens het rijden)</a:t>
            </a:r>
            <a:endParaRPr lang="nl-NL" dirty="0"/>
          </a:p>
        </p:txBody>
      </p:sp>
      <p:pic>
        <p:nvPicPr>
          <p:cNvPr id="34818" name="Picture 2" descr="Afbeeldingsresultaat voor automodus niet storen tijdens">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42713" y="1874868"/>
            <a:ext cx="5323076" cy="3470324"/>
          </a:xfrm>
          <a:prstGeom prst="rect">
            <a:avLst/>
          </a:prstGeom>
          <a:noFill/>
          <a:extLst>
            <a:ext uri="{909E8E84-426E-40DD-AFC4-6F175D3DCCD1}">
              <a14:hiddenFill xmlns:a14="http://schemas.microsoft.com/office/drawing/2010/main">
                <a:solidFill>
                  <a:srgbClr val="FFFFFF"/>
                </a:solidFill>
              </a14:hiddenFill>
            </a:ext>
          </a:extLst>
        </p:spPr>
      </p:pic>
      <p:sp>
        <p:nvSpPr>
          <p:cNvPr id="3" name="Tekstvak 2"/>
          <p:cNvSpPr txBox="1"/>
          <p:nvPr/>
        </p:nvSpPr>
        <p:spPr>
          <a:xfrm>
            <a:off x="697424" y="2132703"/>
            <a:ext cx="4982705" cy="2954655"/>
          </a:xfrm>
          <a:prstGeom prst="rect">
            <a:avLst/>
          </a:prstGeom>
          <a:noFill/>
        </p:spPr>
        <p:txBody>
          <a:bodyPr wrap="square" lIns="0" tIns="0" rIns="0" bIns="0" rtlCol="0">
            <a:spAutoFit/>
          </a:bodyPr>
          <a:lstStyle/>
          <a:p>
            <a:r>
              <a:rPr lang="nl-NL" dirty="0"/>
              <a:t>Met de functie is het mogelijk om alle meldingen te blokkeren tijdens het autorijden. Dit houdt in dat je geen meldingen zult ontvangen van bijvoorbeeld </a:t>
            </a:r>
            <a:r>
              <a:rPr lang="nl-NL" dirty="0">
                <a:hlinkClick r:id="rId4" tooltip="whatsapp"/>
              </a:rPr>
              <a:t>WhatsApp</a:t>
            </a:r>
            <a:r>
              <a:rPr lang="nl-NL" dirty="0"/>
              <a:t>, Berichten, telefoongesprekken, etc. tijdens het autorijden waardoor je meer gefocust bent op het rijden en verkeer.</a:t>
            </a:r>
          </a:p>
        </p:txBody>
      </p:sp>
      <p:sp>
        <p:nvSpPr>
          <p:cNvPr id="5" name="Rechthoek 4"/>
          <p:cNvSpPr/>
          <p:nvPr/>
        </p:nvSpPr>
        <p:spPr>
          <a:xfrm>
            <a:off x="0" y="6065585"/>
            <a:ext cx="12192000" cy="7924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nl-NL"/>
          </a:p>
        </p:txBody>
      </p:sp>
      <p:pic>
        <p:nvPicPr>
          <p:cNvPr id="6" name="Afbeelding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14993" y="44271"/>
            <a:ext cx="1277007" cy="1277007"/>
          </a:xfrm>
          <a:prstGeom prst="rect">
            <a:avLst/>
          </a:prstGeom>
        </p:spPr>
      </p:pic>
    </p:spTree>
    <p:extLst>
      <p:ext uri="{BB962C8B-B14F-4D97-AF65-F5344CB8AC3E}">
        <p14:creationId xmlns:p14="http://schemas.microsoft.com/office/powerpoint/2010/main" val="3332118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p:cNvSpPr>
            <a:spLocks noGrp="1"/>
          </p:cNvSpPr>
          <p:nvPr>
            <p:ph type="title"/>
          </p:nvPr>
        </p:nvSpPr>
        <p:spPr>
          <a:xfrm>
            <a:off x="343998" y="450742"/>
            <a:ext cx="10274300" cy="498598"/>
          </a:xfrm>
        </p:spPr>
        <p:txBody>
          <a:bodyPr/>
          <a:lstStyle/>
          <a:p>
            <a:r>
              <a:rPr lang="nl-NL" dirty="0" smtClean="0"/>
              <a:t>Met meer mensen bellen met je iPhone</a:t>
            </a:r>
            <a:endParaRPr lang="nl-NL" dirty="0"/>
          </a:p>
        </p:txBody>
      </p:sp>
      <p:pic>
        <p:nvPicPr>
          <p:cNvPr id="3" name="Afbeelding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28581" y="1292773"/>
            <a:ext cx="4885578" cy="4445876"/>
          </a:xfrm>
          <a:prstGeom prst="rect">
            <a:avLst/>
          </a:prstGeom>
        </p:spPr>
      </p:pic>
      <p:sp>
        <p:nvSpPr>
          <p:cNvPr id="4" name="Rechthoek 3"/>
          <p:cNvSpPr/>
          <p:nvPr/>
        </p:nvSpPr>
        <p:spPr>
          <a:xfrm>
            <a:off x="0" y="6065585"/>
            <a:ext cx="12192000" cy="7924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nl-NL"/>
          </a:p>
        </p:txBody>
      </p:sp>
      <p:pic>
        <p:nvPicPr>
          <p:cNvPr id="5" name="Afbeelding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14993" y="44271"/>
            <a:ext cx="1277007" cy="1277007"/>
          </a:xfrm>
          <a:prstGeom prst="rect">
            <a:avLst/>
          </a:prstGeom>
        </p:spPr>
      </p:pic>
    </p:spTree>
    <p:extLst>
      <p:ext uri="{BB962C8B-B14F-4D97-AF65-F5344CB8AC3E}">
        <p14:creationId xmlns:p14="http://schemas.microsoft.com/office/powerpoint/2010/main" val="3685966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Met </a:t>
            </a:r>
            <a:r>
              <a:rPr lang="nl-NL" dirty="0" smtClean="0"/>
              <a:t>meerdere </a:t>
            </a:r>
            <a:r>
              <a:rPr lang="nl-NL" dirty="0" smtClean="0"/>
              <a:t>mensen Skypen</a:t>
            </a:r>
            <a:endParaRPr lang="nl-NL" dirty="0"/>
          </a:p>
        </p:txBody>
      </p:sp>
      <p:pic>
        <p:nvPicPr>
          <p:cNvPr id="4" name="Afbeelding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84091" y="2159381"/>
            <a:ext cx="3119439" cy="3119439"/>
          </a:xfrm>
          <a:prstGeom prst="rect">
            <a:avLst/>
          </a:prstGeom>
        </p:spPr>
      </p:pic>
      <p:sp>
        <p:nvSpPr>
          <p:cNvPr id="5" name="Rechthoek 4"/>
          <p:cNvSpPr/>
          <p:nvPr/>
        </p:nvSpPr>
        <p:spPr>
          <a:xfrm>
            <a:off x="0" y="6065585"/>
            <a:ext cx="12192000" cy="7924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nl-NL"/>
          </a:p>
        </p:txBody>
      </p:sp>
      <p:pic>
        <p:nvPicPr>
          <p:cNvPr id="6" name="Afbeelding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14993" y="44271"/>
            <a:ext cx="1277007" cy="1277007"/>
          </a:xfrm>
          <a:prstGeom prst="rect">
            <a:avLst/>
          </a:prstGeom>
        </p:spPr>
      </p:pic>
      <p:pic>
        <p:nvPicPr>
          <p:cNvPr id="8" name="Afbeelding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74285" y="1778381"/>
            <a:ext cx="5279211" cy="3452648"/>
          </a:xfrm>
          <a:prstGeom prst="rect">
            <a:avLst/>
          </a:prstGeom>
        </p:spPr>
      </p:pic>
    </p:spTree>
    <p:extLst>
      <p:ext uri="{BB962C8B-B14F-4D97-AF65-F5344CB8AC3E}">
        <p14:creationId xmlns:p14="http://schemas.microsoft.com/office/powerpoint/2010/main" val="811548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Website veranderen in een ‘app’</a:t>
            </a:r>
            <a:endParaRPr lang="nl-NL" dirty="0"/>
          </a:p>
        </p:txBody>
      </p:sp>
      <p:pic>
        <p:nvPicPr>
          <p:cNvPr id="35842" name="Picture 2" descr="Afbeeldingsresultaat voor app maken van website link iphone">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34404" y="2046799"/>
            <a:ext cx="4705408" cy="3067642"/>
          </a:xfrm>
          <a:prstGeom prst="rect">
            <a:avLst/>
          </a:prstGeom>
          <a:noFill/>
          <a:extLst>
            <a:ext uri="{909E8E84-426E-40DD-AFC4-6F175D3DCCD1}">
              <a14:hiddenFill xmlns:a14="http://schemas.microsoft.com/office/drawing/2010/main">
                <a:solidFill>
                  <a:srgbClr val="FFFFFF"/>
                </a:solidFill>
              </a14:hiddenFill>
            </a:ext>
          </a:extLst>
        </p:spPr>
      </p:pic>
      <p:sp>
        <p:nvSpPr>
          <p:cNvPr id="3" name="Tekstvak 2"/>
          <p:cNvSpPr txBox="1"/>
          <p:nvPr/>
        </p:nvSpPr>
        <p:spPr>
          <a:xfrm>
            <a:off x="1061634" y="2040073"/>
            <a:ext cx="4401518" cy="3323987"/>
          </a:xfrm>
          <a:prstGeom prst="rect">
            <a:avLst/>
          </a:prstGeom>
          <a:noFill/>
        </p:spPr>
        <p:txBody>
          <a:bodyPr wrap="square" lIns="0" tIns="0" rIns="0" bIns="0" rtlCol="0">
            <a:spAutoFit/>
          </a:bodyPr>
          <a:lstStyle/>
          <a:p>
            <a:r>
              <a:rPr lang="nl-NL" dirty="0" smtClean="0"/>
              <a:t>Eenvoudig </a:t>
            </a:r>
            <a:r>
              <a:rPr lang="nl-NL" dirty="0"/>
              <a:t>een webpagina toevoegen aan het beginscherm van je </a:t>
            </a:r>
            <a:r>
              <a:rPr lang="nl-NL" dirty="0">
                <a:hlinkClick r:id="rId4" tooltip="iPhone"/>
              </a:rPr>
              <a:t>iPhone</a:t>
            </a:r>
            <a:r>
              <a:rPr lang="nl-NL" dirty="0"/>
              <a:t> of </a:t>
            </a:r>
            <a:r>
              <a:rPr lang="nl-NL" dirty="0">
                <a:hlinkClick r:id="rId5" tooltip="Apple iPad"/>
              </a:rPr>
              <a:t>iPad</a:t>
            </a:r>
            <a:r>
              <a:rPr lang="nl-NL" dirty="0"/>
              <a:t>. </a:t>
            </a:r>
          </a:p>
          <a:p>
            <a:r>
              <a:rPr lang="nl-NL" dirty="0"/>
              <a:t>Via de snelkoppeling heb je snel toegang tot de website. </a:t>
            </a:r>
            <a:endParaRPr lang="nl-NL" dirty="0" smtClean="0"/>
          </a:p>
          <a:p>
            <a:r>
              <a:rPr lang="nl-NL" dirty="0" smtClean="0"/>
              <a:t>Wanneer </a:t>
            </a:r>
            <a:r>
              <a:rPr lang="nl-NL" dirty="0"/>
              <a:t>je namelijk op het icoon tikt wordt deze namelijk onmiddellijk geopend in Safari. </a:t>
            </a:r>
          </a:p>
          <a:p>
            <a:pPr algn="l"/>
            <a:endParaRPr lang="nl-NL" dirty="0" err="1"/>
          </a:p>
        </p:txBody>
      </p:sp>
      <p:sp>
        <p:nvSpPr>
          <p:cNvPr id="5" name="Rechthoek 4"/>
          <p:cNvSpPr/>
          <p:nvPr/>
        </p:nvSpPr>
        <p:spPr>
          <a:xfrm>
            <a:off x="0" y="6065585"/>
            <a:ext cx="12192000" cy="7924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nl-NL"/>
          </a:p>
        </p:txBody>
      </p:sp>
      <p:pic>
        <p:nvPicPr>
          <p:cNvPr id="6" name="Afbeelding 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14993" y="44271"/>
            <a:ext cx="1277007" cy="1277007"/>
          </a:xfrm>
          <a:prstGeom prst="rect">
            <a:avLst/>
          </a:prstGeom>
        </p:spPr>
      </p:pic>
    </p:spTree>
    <p:extLst>
      <p:ext uri="{BB962C8B-B14F-4D97-AF65-F5344CB8AC3E}">
        <p14:creationId xmlns:p14="http://schemas.microsoft.com/office/powerpoint/2010/main" val="2095631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Scan </a:t>
            </a:r>
            <a:r>
              <a:rPr lang="nl-NL" dirty="0" err="1" smtClean="0"/>
              <a:t>bizzcards</a:t>
            </a:r>
            <a:endParaRPr lang="nl-NL" dirty="0"/>
          </a:p>
        </p:txBody>
      </p:sp>
      <p:pic>
        <p:nvPicPr>
          <p:cNvPr id="36866" name="Picture 2" descr="Afbeeldingsresultaat voor scan bizz cards">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61907" y="1974930"/>
            <a:ext cx="4257675" cy="2686051"/>
          </a:xfrm>
          <a:prstGeom prst="rect">
            <a:avLst/>
          </a:prstGeom>
          <a:noFill/>
          <a:extLst>
            <a:ext uri="{909E8E84-426E-40DD-AFC4-6F175D3DCCD1}">
              <a14:hiddenFill xmlns:a14="http://schemas.microsoft.com/office/drawing/2010/main">
                <a:solidFill>
                  <a:srgbClr val="FFFFFF"/>
                </a:solidFill>
              </a14:hiddenFill>
            </a:ext>
          </a:extLst>
        </p:spPr>
      </p:pic>
      <p:sp>
        <p:nvSpPr>
          <p:cNvPr id="3" name="Tekstvak 2"/>
          <p:cNvSpPr txBox="1"/>
          <p:nvPr/>
        </p:nvSpPr>
        <p:spPr>
          <a:xfrm>
            <a:off x="1472339" y="2704454"/>
            <a:ext cx="3874576" cy="1477328"/>
          </a:xfrm>
          <a:prstGeom prst="rect">
            <a:avLst/>
          </a:prstGeom>
          <a:noFill/>
        </p:spPr>
        <p:txBody>
          <a:bodyPr wrap="square" lIns="0" tIns="0" rIns="0" bIns="0" rtlCol="0">
            <a:spAutoFit/>
          </a:bodyPr>
          <a:lstStyle/>
          <a:p>
            <a:pPr algn="l"/>
            <a:r>
              <a:rPr lang="nl-NL" dirty="0" smtClean="0"/>
              <a:t>Een foto maken van een visitekaartje, waarbij de tekst wordt gescand en in je adresboek wordt geplaatst.</a:t>
            </a:r>
            <a:endParaRPr lang="nl-NL" dirty="0"/>
          </a:p>
        </p:txBody>
      </p:sp>
      <p:sp>
        <p:nvSpPr>
          <p:cNvPr id="5" name="Rechthoek 4"/>
          <p:cNvSpPr/>
          <p:nvPr/>
        </p:nvSpPr>
        <p:spPr>
          <a:xfrm>
            <a:off x="0" y="6065585"/>
            <a:ext cx="12192000" cy="7924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nl-NL"/>
          </a:p>
        </p:txBody>
      </p:sp>
      <p:pic>
        <p:nvPicPr>
          <p:cNvPr id="6" name="Afbeelding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914993" y="44271"/>
            <a:ext cx="1277007" cy="1277007"/>
          </a:xfrm>
          <a:prstGeom prst="rect">
            <a:avLst/>
          </a:prstGeom>
        </p:spPr>
      </p:pic>
    </p:spTree>
    <p:extLst>
      <p:ext uri="{BB962C8B-B14F-4D97-AF65-F5344CB8AC3E}">
        <p14:creationId xmlns:p14="http://schemas.microsoft.com/office/powerpoint/2010/main" val="617661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Boefproef</a:t>
            </a:r>
            <a:endParaRPr lang="nl-NL" dirty="0"/>
          </a:p>
        </p:txBody>
      </p:sp>
      <p:sp>
        <p:nvSpPr>
          <p:cNvPr id="3" name="Tekstvak 2"/>
          <p:cNvSpPr txBox="1"/>
          <p:nvPr/>
        </p:nvSpPr>
        <p:spPr>
          <a:xfrm>
            <a:off x="929899" y="1611824"/>
            <a:ext cx="5579390" cy="3693319"/>
          </a:xfrm>
          <a:prstGeom prst="rect">
            <a:avLst/>
          </a:prstGeom>
          <a:noFill/>
        </p:spPr>
        <p:txBody>
          <a:bodyPr wrap="square" lIns="0" tIns="0" rIns="0" bIns="0" rtlCol="0">
            <a:spAutoFit/>
          </a:bodyPr>
          <a:lstStyle/>
          <a:p>
            <a:r>
              <a:rPr lang="nl-NL" b="1" dirty="0"/>
              <a:t>Maak uw toestel in enkele stappen waardeloos voor dieven en </a:t>
            </a:r>
            <a:r>
              <a:rPr lang="nl-NL" b="1" dirty="0" smtClean="0"/>
              <a:t>helers </a:t>
            </a:r>
          </a:p>
          <a:p>
            <a:r>
              <a:rPr lang="nl-NL" dirty="0" smtClean="0"/>
              <a:t>Zet </a:t>
            </a:r>
            <a:r>
              <a:rPr lang="nl-NL" dirty="0"/>
              <a:t>via instellingen de functie 'zoek mijn telefoon of tablet’ of ‘vind mijn mobiel of tablet’ aan. Via de website van jouw merk of besturingssysteem kun je nu jouw apparaat terugvinden. Ook je laptop kun je in de meeste gevallen </a:t>
            </a:r>
            <a:r>
              <a:rPr lang="nl-NL" dirty="0" err="1"/>
              <a:t>Boefproof</a:t>
            </a:r>
            <a:r>
              <a:rPr lang="nl-NL" dirty="0"/>
              <a:t> maken</a:t>
            </a:r>
            <a:r>
              <a:rPr lang="nl-NL" dirty="0" smtClean="0"/>
              <a:t>.</a:t>
            </a:r>
          </a:p>
          <a:p>
            <a:r>
              <a:rPr lang="nl-NL" dirty="0"/>
              <a:t>Op de website </a:t>
            </a:r>
            <a:r>
              <a:rPr lang="nl-NL" b="1" dirty="0">
                <a:hlinkClick r:id="rId2"/>
              </a:rPr>
              <a:t>www.boefproof.nl</a:t>
            </a:r>
            <a:r>
              <a:rPr lang="nl-NL" dirty="0"/>
              <a:t> is voor elke smartphone een stappenplan te vinden.  </a:t>
            </a:r>
          </a:p>
        </p:txBody>
      </p:sp>
      <p:pic>
        <p:nvPicPr>
          <p:cNvPr id="38914" name="Picture 2" descr="Afbeeldingsresultaat voor boefproof">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77649" y="1447154"/>
            <a:ext cx="3223342" cy="3853267"/>
          </a:xfrm>
          <a:prstGeom prst="rect">
            <a:avLst/>
          </a:prstGeom>
          <a:noFill/>
          <a:extLst>
            <a:ext uri="{909E8E84-426E-40DD-AFC4-6F175D3DCCD1}">
              <a14:hiddenFill xmlns:a14="http://schemas.microsoft.com/office/drawing/2010/main">
                <a:solidFill>
                  <a:srgbClr val="FFFFFF"/>
                </a:solidFill>
              </a14:hiddenFill>
            </a:ext>
          </a:extLst>
        </p:spPr>
      </p:pic>
      <p:sp>
        <p:nvSpPr>
          <p:cNvPr id="5" name="Rechthoek 4"/>
          <p:cNvSpPr/>
          <p:nvPr/>
        </p:nvSpPr>
        <p:spPr>
          <a:xfrm>
            <a:off x="0" y="6065585"/>
            <a:ext cx="12192000" cy="7924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nl-NL"/>
          </a:p>
        </p:txBody>
      </p:sp>
      <p:pic>
        <p:nvPicPr>
          <p:cNvPr id="6" name="Afbeelding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14993" y="44271"/>
            <a:ext cx="1277007" cy="1277007"/>
          </a:xfrm>
          <a:prstGeom prst="rect">
            <a:avLst/>
          </a:prstGeom>
        </p:spPr>
      </p:pic>
    </p:spTree>
    <p:extLst>
      <p:ext uri="{BB962C8B-B14F-4D97-AF65-F5344CB8AC3E}">
        <p14:creationId xmlns:p14="http://schemas.microsoft.com/office/powerpoint/2010/main" val="730611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Navigeren zonder internet</a:t>
            </a:r>
            <a:endParaRPr lang="nl-NL" dirty="0"/>
          </a:p>
        </p:txBody>
      </p:sp>
      <p:sp>
        <p:nvSpPr>
          <p:cNvPr id="3" name="Tekstvak 2"/>
          <p:cNvSpPr txBox="1"/>
          <p:nvPr/>
        </p:nvSpPr>
        <p:spPr>
          <a:xfrm>
            <a:off x="929899" y="1611824"/>
            <a:ext cx="5579390" cy="2954655"/>
          </a:xfrm>
          <a:prstGeom prst="rect">
            <a:avLst/>
          </a:prstGeom>
          <a:noFill/>
        </p:spPr>
        <p:txBody>
          <a:bodyPr wrap="square" lIns="0" tIns="0" rIns="0" bIns="0" rtlCol="0">
            <a:spAutoFit/>
          </a:bodyPr>
          <a:lstStyle/>
          <a:p>
            <a:r>
              <a:rPr lang="nl-NL" b="1" dirty="0"/>
              <a:t>Navigeren zonder internet</a:t>
            </a:r>
            <a:r>
              <a:rPr lang="nl-NL" dirty="0"/>
              <a:t/>
            </a:r>
            <a:br>
              <a:rPr lang="nl-NL" dirty="0"/>
            </a:br>
            <a:r>
              <a:rPr lang="nl-NL" dirty="0"/>
              <a:t>Navigeren zonder dat je data er in een rap tempo vandoor gaat? </a:t>
            </a:r>
            <a:r>
              <a:rPr lang="nl-NL" dirty="0" smtClean="0"/>
              <a:t/>
            </a:r>
            <a:br>
              <a:rPr lang="nl-NL" dirty="0" smtClean="0"/>
            </a:br>
            <a:r>
              <a:rPr lang="nl-NL" dirty="0" smtClean="0"/>
              <a:t>Ontdek hoe </a:t>
            </a:r>
            <a:r>
              <a:rPr lang="nl-NL" dirty="0"/>
              <a:t>je Google </a:t>
            </a:r>
            <a:r>
              <a:rPr lang="nl-NL" dirty="0" err="1"/>
              <a:t>Maps</a:t>
            </a:r>
            <a:r>
              <a:rPr lang="nl-NL" dirty="0"/>
              <a:t> gebruikt zonder internetverbinding! </a:t>
            </a:r>
            <a:endParaRPr lang="nl-NL" dirty="0" smtClean="0"/>
          </a:p>
          <a:p>
            <a:endParaRPr lang="nl-NL" dirty="0" smtClean="0"/>
          </a:p>
          <a:p>
            <a:r>
              <a:rPr lang="nl-NL" u="sng" dirty="0">
                <a:hlinkClick r:id="rId2"/>
              </a:rPr>
              <a:t>https://androidworld.nl/tips/google-maps-offline-gebruiken/</a:t>
            </a:r>
            <a:r>
              <a:rPr lang="nl-NL" dirty="0"/>
              <a:t> </a:t>
            </a:r>
            <a:r>
              <a:rPr lang="nl-NL" dirty="0" smtClean="0"/>
              <a:t> </a:t>
            </a:r>
            <a:endParaRPr lang="nl-NL" dirty="0"/>
          </a:p>
        </p:txBody>
      </p:sp>
      <p:sp>
        <p:nvSpPr>
          <p:cNvPr id="5" name="Rechthoek 4"/>
          <p:cNvSpPr/>
          <p:nvPr/>
        </p:nvSpPr>
        <p:spPr>
          <a:xfrm>
            <a:off x="0" y="6065585"/>
            <a:ext cx="12192000" cy="7924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nl-NL"/>
          </a:p>
        </p:txBody>
      </p:sp>
      <p:pic>
        <p:nvPicPr>
          <p:cNvPr id="4" name="Afbeelding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27194" y="1627442"/>
            <a:ext cx="4521552" cy="2923417"/>
          </a:xfrm>
          <a:prstGeom prst="rect">
            <a:avLst/>
          </a:prstGeom>
        </p:spPr>
      </p:pic>
      <p:pic>
        <p:nvPicPr>
          <p:cNvPr id="8" name="Afbeelding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914993" y="44271"/>
            <a:ext cx="1277007" cy="1277007"/>
          </a:xfrm>
          <a:prstGeom prst="rect">
            <a:avLst/>
          </a:prstGeom>
        </p:spPr>
      </p:pic>
    </p:spTree>
    <p:extLst>
      <p:ext uri="{BB962C8B-B14F-4D97-AF65-F5344CB8AC3E}">
        <p14:creationId xmlns:p14="http://schemas.microsoft.com/office/powerpoint/2010/main" val="1243963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Geen last van de zon: werken in de tuin!</a:t>
            </a:r>
            <a:endParaRPr lang="nl-NL" dirty="0"/>
          </a:p>
        </p:txBody>
      </p:sp>
      <p:sp>
        <p:nvSpPr>
          <p:cNvPr id="3" name="Tekstvak 2"/>
          <p:cNvSpPr txBox="1"/>
          <p:nvPr/>
        </p:nvSpPr>
        <p:spPr>
          <a:xfrm>
            <a:off x="958853" y="3358847"/>
            <a:ext cx="5579390" cy="738664"/>
          </a:xfrm>
          <a:prstGeom prst="rect">
            <a:avLst/>
          </a:prstGeom>
          <a:noFill/>
        </p:spPr>
        <p:txBody>
          <a:bodyPr wrap="square" lIns="0" tIns="0" rIns="0" bIns="0" rtlCol="0">
            <a:spAutoFit/>
          </a:bodyPr>
          <a:lstStyle/>
          <a:p>
            <a:r>
              <a:rPr lang="nl-NL" dirty="0" smtClean="0"/>
              <a:t>Zonnescherm. </a:t>
            </a:r>
            <a:br>
              <a:rPr lang="nl-NL" dirty="0" smtClean="0"/>
            </a:br>
            <a:r>
              <a:rPr lang="nl-NL" dirty="0" smtClean="0"/>
              <a:t>Zowel </a:t>
            </a:r>
            <a:r>
              <a:rPr lang="nl-NL" dirty="0"/>
              <a:t>voor de laptop als voor de tablet</a:t>
            </a:r>
          </a:p>
        </p:txBody>
      </p:sp>
      <p:sp>
        <p:nvSpPr>
          <p:cNvPr id="5" name="Rechthoek 4"/>
          <p:cNvSpPr/>
          <p:nvPr/>
        </p:nvSpPr>
        <p:spPr>
          <a:xfrm>
            <a:off x="0" y="6065585"/>
            <a:ext cx="12192000" cy="7924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nl-NL"/>
          </a:p>
        </p:txBody>
      </p:sp>
      <p:pic>
        <p:nvPicPr>
          <p:cNvPr id="6" name="Afbeelding 5" descr="Buiten werken met je laptop in de zon"/>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932885" y="2259134"/>
            <a:ext cx="4780893" cy="2938091"/>
          </a:xfrm>
          <a:prstGeom prst="rect">
            <a:avLst/>
          </a:prstGeom>
          <a:noFill/>
          <a:ln>
            <a:noFill/>
          </a:ln>
        </p:spPr>
      </p:pic>
      <p:pic>
        <p:nvPicPr>
          <p:cNvPr id="7" name="Afbeelding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14993" y="44271"/>
            <a:ext cx="1277007" cy="1277007"/>
          </a:xfrm>
          <a:prstGeom prst="rect">
            <a:avLst/>
          </a:prstGeom>
        </p:spPr>
      </p:pic>
    </p:spTree>
    <p:extLst>
      <p:ext uri="{BB962C8B-B14F-4D97-AF65-F5344CB8AC3E}">
        <p14:creationId xmlns:p14="http://schemas.microsoft.com/office/powerpoint/2010/main" val="2263964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769666" y="376364"/>
            <a:ext cx="10274300" cy="637079"/>
          </a:xfrm>
        </p:spPr>
        <p:txBody>
          <a:bodyPr/>
          <a:lstStyle/>
          <a:p>
            <a:r>
              <a:rPr lang="nl-NL" dirty="0"/>
              <a:t>Een oude iPad nieuw leven geven</a:t>
            </a:r>
            <a:br>
              <a:rPr lang="nl-NL" dirty="0"/>
            </a:br>
            <a:endParaRPr lang="nl-NL" dirty="0"/>
          </a:p>
        </p:txBody>
      </p:sp>
      <p:sp>
        <p:nvSpPr>
          <p:cNvPr id="3" name="Tekstvak 2"/>
          <p:cNvSpPr txBox="1"/>
          <p:nvPr/>
        </p:nvSpPr>
        <p:spPr>
          <a:xfrm>
            <a:off x="769665" y="1013443"/>
            <a:ext cx="8342803" cy="5847755"/>
          </a:xfrm>
          <a:prstGeom prst="rect">
            <a:avLst/>
          </a:prstGeom>
          <a:noFill/>
        </p:spPr>
        <p:txBody>
          <a:bodyPr wrap="square" lIns="0" tIns="0" rIns="0" bIns="0" rtlCol="0">
            <a:spAutoFit/>
          </a:bodyPr>
          <a:lstStyle/>
          <a:p>
            <a:r>
              <a:rPr lang="nl-NL" sz="2000" b="1" dirty="0" smtClean="0">
                <a:solidFill>
                  <a:srgbClr val="00A5CC"/>
                </a:solidFill>
              </a:rPr>
              <a:t>1 </a:t>
            </a:r>
            <a:r>
              <a:rPr lang="nl-NL" sz="2000" b="1" dirty="0">
                <a:solidFill>
                  <a:srgbClr val="00A5CC"/>
                </a:solidFill>
              </a:rPr>
              <a:t>Digitaal fotolijstje</a:t>
            </a:r>
            <a:r>
              <a:rPr lang="nl-NL" sz="2000" b="1" dirty="0"/>
              <a:t/>
            </a:r>
            <a:br>
              <a:rPr lang="nl-NL" sz="2000" b="1" dirty="0"/>
            </a:br>
            <a:r>
              <a:rPr lang="nl-NL" sz="2000" dirty="0"/>
              <a:t>Plaats de iPad in een standaard/hoesje. Open de foto-app. Tik op </a:t>
            </a:r>
            <a:r>
              <a:rPr lang="nl-NL" sz="2000" b="1" dirty="0"/>
              <a:t>Albums</a:t>
            </a:r>
            <a:r>
              <a:rPr lang="nl-NL" sz="2000" dirty="0"/>
              <a:t>. Selecteer eventueel een album met je favoriete foto's of kies voor 'Alle foto's'. Tik rechtsboven op </a:t>
            </a:r>
            <a:r>
              <a:rPr lang="nl-NL" sz="2000" b="1" dirty="0" err="1"/>
              <a:t>Diavertoning</a:t>
            </a:r>
            <a:r>
              <a:rPr lang="nl-NL" sz="2000" dirty="0"/>
              <a:t>. Tik eventueel op de eerste foto en daarna op </a:t>
            </a:r>
            <a:r>
              <a:rPr lang="nl-NL" sz="2000" b="1" dirty="0"/>
              <a:t>Opties</a:t>
            </a:r>
            <a:r>
              <a:rPr lang="nl-NL" sz="2000" dirty="0"/>
              <a:t>. Zet 'Herhaal' aan (schuifje naar rechts) en stel de snelheid in (schildpad staat voor langzaam; haas voor snel). Tik tweemaal op de foto. Je hebt nu een doorlopende diashow! </a:t>
            </a:r>
          </a:p>
          <a:p>
            <a:r>
              <a:rPr lang="nl-NL" sz="2000" b="1" dirty="0">
                <a:solidFill>
                  <a:srgbClr val="00A5CC"/>
                </a:solidFill>
              </a:rPr>
              <a:t>2 E-reader</a:t>
            </a:r>
            <a:r>
              <a:rPr lang="nl-NL" sz="2000" dirty="0"/>
              <a:t/>
            </a:r>
            <a:br>
              <a:rPr lang="nl-NL" sz="2000" dirty="0"/>
            </a:br>
            <a:r>
              <a:rPr lang="nl-NL" sz="2000" dirty="0"/>
              <a:t>Met behulp van iTunes kun je je e-boeken overzetten naar de iPad en het apparaat blijven gebruiken als e-reader.</a:t>
            </a:r>
          </a:p>
          <a:p>
            <a:r>
              <a:rPr lang="nl-NL" sz="2000" b="1" dirty="0"/>
              <a:t>3 Muziekspeler</a:t>
            </a:r>
            <a:r>
              <a:rPr lang="nl-NL" sz="2000" dirty="0"/>
              <a:t/>
            </a:r>
            <a:br>
              <a:rPr lang="nl-NL" sz="2000" dirty="0"/>
            </a:br>
            <a:r>
              <a:rPr lang="nl-NL" sz="2000" dirty="0"/>
              <a:t>Een collectie muziekbestanden in bezit? Zet ze met behulp van iTunes op het apparaat en speel ze af. Of gebruik de </a:t>
            </a:r>
            <a:r>
              <a:rPr lang="nl-NL" sz="2000" dirty="0" err="1"/>
              <a:t>Spotify</a:t>
            </a:r>
            <a:r>
              <a:rPr lang="nl-NL" sz="2000" dirty="0"/>
              <a:t>-app. Koop er een setje luidsprekers bij en je haalt een prima jukebox in huis.</a:t>
            </a:r>
          </a:p>
          <a:p>
            <a:r>
              <a:rPr lang="nl-NL" sz="2000" b="1" dirty="0">
                <a:solidFill>
                  <a:srgbClr val="00A5CC"/>
                </a:solidFill>
              </a:rPr>
              <a:t>4 Wekker</a:t>
            </a:r>
            <a:r>
              <a:rPr lang="nl-NL" sz="2000" dirty="0"/>
              <a:t/>
            </a:r>
            <a:br>
              <a:rPr lang="nl-NL" sz="2000" dirty="0"/>
            </a:br>
            <a:r>
              <a:rPr lang="nl-NL" sz="2000" dirty="0"/>
              <a:t>Verander de iPad in een hippe wekkerradio met behulp van de app </a:t>
            </a:r>
            <a:r>
              <a:rPr lang="nl-NL" sz="2000" u="sng" dirty="0" err="1">
                <a:hlinkClick r:id="rId2" tooltip="Nightstand"/>
              </a:rPr>
              <a:t>Nightstand</a:t>
            </a:r>
            <a:r>
              <a:rPr lang="nl-NL" sz="2000" dirty="0"/>
              <a:t>. </a:t>
            </a:r>
          </a:p>
          <a:p>
            <a:r>
              <a:rPr lang="nl-NL" sz="2000" b="1" dirty="0"/>
              <a:t/>
            </a:r>
            <a:br>
              <a:rPr lang="nl-NL" sz="2000" b="1" dirty="0"/>
            </a:br>
            <a:r>
              <a:rPr lang="nl-NL" sz="2000" b="1" dirty="0"/>
              <a:t>Of gebruik hem als snijplank </a:t>
            </a:r>
            <a:r>
              <a:rPr lang="nl-NL" sz="2000" b="1" dirty="0">
                <a:sym typeface="Wingdings" panose="05000000000000000000" pitchFamily="2" charset="2"/>
              </a:rPr>
              <a:t></a:t>
            </a:r>
            <a:r>
              <a:rPr lang="nl-NL" sz="2000" b="1" dirty="0"/>
              <a:t>: </a:t>
            </a:r>
            <a:br>
              <a:rPr lang="nl-NL" sz="2000" b="1" dirty="0"/>
            </a:br>
            <a:endParaRPr lang="nl-NL" sz="2000" dirty="0"/>
          </a:p>
        </p:txBody>
      </p:sp>
      <p:sp>
        <p:nvSpPr>
          <p:cNvPr id="5" name="Rechthoek 4"/>
          <p:cNvSpPr/>
          <p:nvPr/>
        </p:nvSpPr>
        <p:spPr>
          <a:xfrm>
            <a:off x="0" y="6065585"/>
            <a:ext cx="12192000" cy="7924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nl-NL"/>
          </a:p>
        </p:txBody>
      </p:sp>
      <p:pic>
        <p:nvPicPr>
          <p:cNvPr id="7" name="Afbeelding 6" descr="tip(2)"/>
          <p:cNvPicPr/>
          <p:nvPr/>
        </p:nvPicPr>
        <p:blipFill>
          <a:blip r:embed="rId3">
            <a:extLst>
              <a:ext uri="{28A0092B-C50C-407E-A947-70E740481C1C}">
                <a14:useLocalDpi xmlns:a14="http://schemas.microsoft.com/office/drawing/2010/main" val="0"/>
              </a:ext>
            </a:extLst>
          </a:blip>
          <a:srcRect/>
          <a:stretch>
            <a:fillRect/>
          </a:stretch>
        </p:blipFill>
        <p:spPr bwMode="auto">
          <a:xfrm>
            <a:off x="9112468" y="2263993"/>
            <a:ext cx="2951765" cy="2717909"/>
          </a:xfrm>
          <a:prstGeom prst="rect">
            <a:avLst/>
          </a:prstGeom>
          <a:noFill/>
          <a:ln>
            <a:noFill/>
          </a:ln>
        </p:spPr>
      </p:pic>
      <p:pic>
        <p:nvPicPr>
          <p:cNvPr id="8" name="Afbeelding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914993" y="44271"/>
            <a:ext cx="1277007" cy="1277007"/>
          </a:xfrm>
          <a:prstGeom prst="rect">
            <a:avLst/>
          </a:prstGeom>
        </p:spPr>
      </p:pic>
    </p:spTree>
    <p:extLst>
      <p:ext uri="{BB962C8B-B14F-4D97-AF65-F5344CB8AC3E}">
        <p14:creationId xmlns:p14="http://schemas.microsoft.com/office/powerpoint/2010/main" val="1678312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958853" y="892176"/>
            <a:ext cx="10274300" cy="498598"/>
          </a:xfrm>
        </p:spPr>
        <p:txBody>
          <a:bodyPr/>
          <a:lstStyle/>
          <a:p>
            <a:r>
              <a:rPr lang="nl-NL" dirty="0"/>
              <a:t>LinkedInprofiel printen</a:t>
            </a:r>
          </a:p>
        </p:txBody>
      </p:sp>
      <p:sp>
        <p:nvSpPr>
          <p:cNvPr id="3" name="Tekstvak 2"/>
          <p:cNvSpPr txBox="1"/>
          <p:nvPr/>
        </p:nvSpPr>
        <p:spPr>
          <a:xfrm>
            <a:off x="958853" y="2162960"/>
            <a:ext cx="5579390" cy="2215991"/>
          </a:xfrm>
          <a:prstGeom prst="rect">
            <a:avLst/>
          </a:prstGeom>
          <a:noFill/>
        </p:spPr>
        <p:txBody>
          <a:bodyPr wrap="square" lIns="0" tIns="0" rIns="0" bIns="0" rtlCol="0">
            <a:spAutoFit/>
          </a:bodyPr>
          <a:lstStyle/>
          <a:p>
            <a:r>
              <a:rPr lang="nl-NL" dirty="0"/>
              <a:t>Op LinkedIn kun je heel gemakkelijk iemands profiel in een pdf zetten en het programma zet hem zelf in de lay-out van een CV. </a:t>
            </a:r>
            <a:br>
              <a:rPr lang="nl-NL" dirty="0"/>
            </a:br>
            <a:r>
              <a:rPr lang="nl-NL" dirty="0"/>
              <a:t>Hoe? Klik op iemands naam. Dan op ‘More’ en dan op ‘Save als PDF’. Het profiel gaat als pdf naar je downloadmap. </a:t>
            </a:r>
          </a:p>
        </p:txBody>
      </p:sp>
      <p:sp>
        <p:nvSpPr>
          <p:cNvPr id="5" name="Rechthoek 4"/>
          <p:cNvSpPr/>
          <p:nvPr/>
        </p:nvSpPr>
        <p:spPr>
          <a:xfrm>
            <a:off x="0" y="6065585"/>
            <a:ext cx="12192000" cy="7924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nl-NL"/>
          </a:p>
        </p:txBody>
      </p:sp>
      <p:pic>
        <p:nvPicPr>
          <p:cNvPr id="7" name="Afbeelding 6" descr="Afbeeldingsresultaat voor linkedin print pdf"/>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38243" y="2039104"/>
            <a:ext cx="5305699" cy="3012822"/>
          </a:xfrm>
          <a:prstGeom prst="rect">
            <a:avLst/>
          </a:prstGeom>
          <a:noFill/>
          <a:ln>
            <a:noFill/>
          </a:ln>
        </p:spPr>
      </p:pic>
      <p:pic>
        <p:nvPicPr>
          <p:cNvPr id="8" name="Afbeelding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14993" y="44271"/>
            <a:ext cx="1277007" cy="1277007"/>
          </a:xfrm>
          <a:prstGeom prst="rect">
            <a:avLst/>
          </a:prstGeom>
        </p:spPr>
      </p:pic>
    </p:spTree>
    <p:extLst>
      <p:ext uri="{BB962C8B-B14F-4D97-AF65-F5344CB8AC3E}">
        <p14:creationId xmlns:p14="http://schemas.microsoft.com/office/powerpoint/2010/main" val="864222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itel 5">
            <a:extLst>
              <a:ext uri="{FF2B5EF4-FFF2-40B4-BE49-F238E27FC236}">
                <a16:creationId xmlns="" xmlns:a16="http://schemas.microsoft.com/office/drawing/2014/main" id="{E6633DB4-6922-48EE-85AA-5F323BC071D7}"/>
              </a:ext>
            </a:extLst>
          </p:cNvPr>
          <p:cNvSpPr>
            <a:spLocks noGrp="1"/>
          </p:cNvSpPr>
          <p:nvPr>
            <p:ph type="title"/>
          </p:nvPr>
        </p:nvSpPr>
        <p:spPr>
          <a:xfrm>
            <a:off x="228343" y="584255"/>
            <a:ext cx="10515600" cy="498598"/>
          </a:xfrm>
        </p:spPr>
        <p:txBody>
          <a:bodyPr/>
          <a:lstStyle/>
          <a:p>
            <a:r>
              <a:rPr lang="nl-NL" b="1" dirty="0" smtClean="0"/>
              <a:t>De noodzaak</a:t>
            </a:r>
            <a:endParaRPr lang="nl-NL" b="1" dirty="0"/>
          </a:p>
        </p:txBody>
      </p:sp>
      <p:sp>
        <p:nvSpPr>
          <p:cNvPr id="4" name="Tekstvak 3"/>
          <p:cNvSpPr txBox="1"/>
          <p:nvPr/>
        </p:nvSpPr>
        <p:spPr>
          <a:xfrm>
            <a:off x="657225" y="1343026"/>
            <a:ext cx="11087100" cy="5170646"/>
          </a:xfrm>
          <a:prstGeom prst="rect">
            <a:avLst/>
          </a:prstGeom>
          <a:noFill/>
        </p:spPr>
        <p:txBody>
          <a:bodyPr wrap="square" lIns="0" tIns="0" rIns="0" bIns="0" rtlCol="0">
            <a:spAutoFit/>
          </a:bodyPr>
          <a:lstStyle/>
          <a:p>
            <a:pPr marL="342900" indent="-342900" algn="l">
              <a:buFontTx/>
              <a:buChar char="-"/>
            </a:pPr>
            <a:r>
              <a:rPr lang="nl-NL" sz="2800" dirty="0" smtClean="0">
                <a:solidFill>
                  <a:srgbClr val="003B71"/>
                </a:solidFill>
              </a:rPr>
              <a:t>De wereld van technologie verandert sneller dan we bij kunnen houden</a:t>
            </a:r>
          </a:p>
          <a:p>
            <a:pPr marL="342900" indent="-342900" algn="l">
              <a:buFontTx/>
              <a:buChar char="-"/>
            </a:pPr>
            <a:r>
              <a:rPr lang="nl-NL" sz="2800" dirty="0" smtClean="0">
                <a:solidFill>
                  <a:srgbClr val="003B71"/>
                </a:solidFill>
              </a:rPr>
              <a:t>Meer digitale vaardigheden, meer zelfvertrouwen</a:t>
            </a:r>
          </a:p>
          <a:p>
            <a:pPr marL="342900" indent="-342900" algn="l">
              <a:buFontTx/>
              <a:buChar char="-"/>
            </a:pPr>
            <a:r>
              <a:rPr lang="nl-NL" sz="2800" dirty="0" smtClean="0">
                <a:solidFill>
                  <a:srgbClr val="003B71"/>
                </a:solidFill>
              </a:rPr>
              <a:t>De werkdruk is hoog</a:t>
            </a:r>
          </a:p>
          <a:p>
            <a:pPr marL="342900" indent="-342900" algn="l">
              <a:buFontTx/>
              <a:buChar char="-"/>
            </a:pPr>
            <a:r>
              <a:rPr lang="nl-NL" sz="2800" dirty="0" smtClean="0">
                <a:solidFill>
                  <a:srgbClr val="003B71"/>
                </a:solidFill>
              </a:rPr>
              <a:t>Sommige mensen dreigen buiten de boot te vallen</a:t>
            </a:r>
          </a:p>
          <a:p>
            <a:pPr marL="342900" indent="-342900" algn="l">
              <a:buFontTx/>
              <a:buChar char="-"/>
            </a:pPr>
            <a:r>
              <a:rPr lang="nl-NL" sz="2800" dirty="0" smtClean="0">
                <a:solidFill>
                  <a:srgbClr val="003B71"/>
                </a:solidFill>
              </a:rPr>
              <a:t>Iedereen kan wat digitaal vaardiger worden</a:t>
            </a:r>
          </a:p>
          <a:p>
            <a:pPr marL="342900" indent="-342900" algn="l">
              <a:buFontTx/>
              <a:buChar char="-"/>
            </a:pPr>
            <a:r>
              <a:rPr lang="nl-NL" sz="2800" dirty="0" smtClean="0">
                <a:solidFill>
                  <a:srgbClr val="003B71"/>
                </a:solidFill>
              </a:rPr>
              <a:t>De financiering van zorg staat onder druk; hoe vaardiger hoe efficiënter</a:t>
            </a:r>
          </a:p>
          <a:p>
            <a:pPr marL="342900" indent="-342900" algn="l">
              <a:buFontTx/>
              <a:buChar char="-"/>
            </a:pPr>
            <a:r>
              <a:rPr lang="nl-NL" sz="2800" dirty="0" smtClean="0">
                <a:solidFill>
                  <a:srgbClr val="003B71"/>
                </a:solidFill>
              </a:rPr>
              <a:t>Mogelijkheden van applicaties worden vaak maar deels benut</a:t>
            </a:r>
          </a:p>
          <a:p>
            <a:pPr algn="l"/>
            <a:endParaRPr lang="nl-NL" sz="2800" dirty="0" smtClean="0">
              <a:solidFill>
                <a:srgbClr val="003B71"/>
              </a:solidFill>
            </a:endParaRPr>
          </a:p>
          <a:p>
            <a:pPr algn="l"/>
            <a:r>
              <a:rPr lang="nl-NL" sz="2800" dirty="0" smtClean="0">
                <a:solidFill>
                  <a:srgbClr val="003B71"/>
                </a:solidFill>
              </a:rPr>
              <a:t>En…….</a:t>
            </a:r>
          </a:p>
          <a:p>
            <a:pPr marL="342900" indent="-342900" algn="l">
              <a:buFontTx/>
              <a:buChar char="-"/>
            </a:pPr>
            <a:r>
              <a:rPr lang="nl-NL" sz="2800" dirty="0" smtClean="0">
                <a:solidFill>
                  <a:srgbClr val="003B71"/>
                </a:solidFill>
              </a:rPr>
              <a:t>Er zijn zo veel leuke nieuwe tools!</a:t>
            </a:r>
          </a:p>
          <a:p>
            <a:pPr marL="342900" indent="-342900" algn="l">
              <a:buFontTx/>
              <a:buChar char="-"/>
            </a:pPr>
            <a:endParaRPr lang="nl-NL" sz="2800" dirty="0" smtClean="0">
              <a:solidFill>
                <a:srgbClr val="003B71"/>
              </a:solidFill>
            </a:endParaRPr>
          </a:p>
          <a:p>
            <a:pPr algn="l"/>
            <a:endParaRPr lang="nl-NL" sz="2800" dirty="0">
              <a:solidFill>
                <a:srgbClr val="003B71"/>
              </a:solidFill>
            </a:endParaRPr>
          </a:p>
        </p:txBody>
      </p:sp>
      <p:sp>
        <p:nvSpPr>
          <p:cNvPr id="7" name="Rechthoek 6"/>
          <p:cNvSpPr/>
          <p:nvPr/>
        </p:nvSpPr>
        <p:spPr>
          <a:xfrm>
            <a:off x="0" y="6065585"/>
            <a:ext cx="12192000" cy="7924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nl-NL"/>
          </a:p>
        </p:txBody>
      </p:sp>
      <p:pic>
        <p:nvPicPr>
          <p:cNvPr id="8" name="Afbeelding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14993" y="44271"/>
            <a:ext cx="1277007" cy="1277007"/>
          </a:xfrm>
          <a:prstGeom prst="rect">
            <a:avLst/>
          </a:prstGeom>
        </p:spPr>
      </p:pic>
    </p:spTree>
    <p:extLst>
      <p:ext uri="{BB962C8B-B14F-4D97-AF65-F5344CB8AC3E}">
        <p14:creationId xmlns:p14="http://schemas.microsoft.com/office/powerpoint/2010/main" val="3369038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
                                            <p:txEl>
                                              <p:pRg st="8" end="8"/>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48493" y="904886"/>
            <a:ext cx="10274300" cy="498598"/>
          </a:xfrm>
        </p:spPr>
        <p:txBody>
          <a:bodyPr/>
          <a:lstStyle/>
          <a:p>
            <a:r>
              <a:rPr lang="nl-NL" dirty="0" err="1"/>
              <a:t>Rechtenvrije</a:t>
            </a:r>
            <a:r>
              <a:rPr lang="nl-NL" dirty="0"/>
              <a:t> foto’s en filmpjes</a:t>
            </a:r>
          </a:p>
        </p:txBody>
      </p:sp>
      <p:sp>
        <p:nvSpPr>
          <p:cNvPr id="3" name="Tekstvak 2"/>
          <p:cNvSpPr txBox="1"/>
          <p:nvPr/>
        </p:nvSpPr>
        <p:spPr>
          <a:xfrm>
            <a:off x="848493" y="1660479"/>
            <a:ext cx="7664885" cy="4062651"/>
          </a:xfrm>
          <a:prstGeom prst="rect">
            <a:avLst/>
          </a:prstGeom>
          <a:noFill/>
        </p:spPr>
        <p:txBody>
          <a:bodyPr wrap="square" lIns="0" tIns="0" rIns="0" bIns="0" rtlCol="0">
            <a:spAutoFit/>
          </a:bodyPr>
          <a:lstStyle/>
          <a:p>
            <a:r>
              <a:rPr lang="nl-NL" dirty="0"/>
              <a:t>Er zijn allerlei sites waar je foto’s kunt vinden die je </a:t>
            </a:r>
            <a:r>
              <a:rPr lang="nl-NL" dirty="0" err="1"/>
              <a:t>rechtenvrij</a:t>
            </a:r>
            <a:r>
              <a:rPr lang="nl-NL" dirty="0"/>
              <a:t> kunt gebruiken. </a:t>
            </a:r>
            <a:r>
              <a:rPr lang="nl-NL" dirty="0" smtClean="0"/>
              <a:t>Dat </a:t>
            </a:r>
            <a:r>
              <a:rPr lang="nl-NL" dirty="0"/>
              <a:t>betekent dat je ze voor niet-commerciële doeleinden in mag zetten. </a:t>
            </a:r>
            <a:endParaRPr lang="nl-NL" dirty="0" smtClean="0"/>
          </a:p>
          <a:p>
            <a:endParaRPr lang="nl-NL" dirty="0"/>
          </a:p>
          <a:p>
            <a:r>
              <a:rPr lang="nl-NL" b="1" dirty="0"/>
              <a:t>Voorbeelden van sites zijn:</a:t>
            </a:r>
            <a:r>
              <a:rPr lang="nl-NL" dirty="0"/>
              <a:t/>
            </a:r>
            <a:br>
              <a:rPr lang="nl-NL" dirty="0"/>
            </a:br>
            <a:r>
              <a:rPr lang="nl-NL" dirty="0"/>
              <a:t>- Pixabay.com</a:t>
            </a:r>
          </a:p>
          <a:p>
            <a:r>
              <a:rPr lang="nl-NL" dirty="0"/>
              <a:t>- Pexels.com</a:t>
            </a:r>
          </a:p>
          <a:p>
            <a:r>
              <a:rPr lang="nl-NL" dirty="0" smtClean="0"/>
              <a:t>- Freepiks.com </a:t>
            </a:r>
          </a:p>
          <a:p>
            <a:r>
              <a:rPr lang="nl-NL" dirty="0" smtClean="0"/>
              <a:t>- </a:t>
            </a:r>
            <a:r>
              <a:rPr lang="nl-NL" dirty="0"/>
              <a:t>Freeimages.com </a:t>
            </a:r>
          </a:p>
          <a:p>
            <a:r>
              <a:rPr lang="nl-NL" dirty="0"/>
              <a:t>Zoek op </a:t>
            </a:r>
            <a:r>
              <a:rPr lang="nl-NL" dirty="0" err="1"/>
              <a:t>rechtenvrije</a:t>
            </a:r>
            <a:r>
              <a:rPr lang="nl-NL" dirty="0"/>
              <a:t> foto’s en niet op gratis foto’s. </a:t>
            </a:r>
            <a:r>
              <a:rPr lang="nl-NL" dirty="0" smtClean="0"/>
              <a:t/>
            </a:r>
            <a:br>
              <a:rPr lang="nl-NL" dirty="0" smtClean="0"/>
            </a:br>
            <a:r>
              <a:rPr lang="nl-NL" dirty="0" smtClean="0"/>
              <a:t>Dat </a:t>
            </a:r>
            <a:r>
              <a:rPr lang="nl-NL" dirty="0"/>
              <a:t>is niet hetzelfde. Je kunt op veel sites ook video’s zoeken!</a:t>
            </a:r>
          </a:p>
        </p:txBody>
      </p:sp>
      <p:sp>
        <p:nvSpPr>
          <p:cNvPr id="5" name="Rechthoek 4"/>
          <p:cNvSpPr/>
          <p:nvPr/>
        </p:nvSpPr>
        <p:spPr>
          <a:xfrm>
            <a:off x="0" y="6065585"/>
            <a:ext cx="12192000" cy="7924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nl-NL"/>
          </a:p>
        </p:txBody>
      </p:sp>
      <p:pic>
        <p:nvPicPr>
          <p:cNvPr id="7" name="Afbeelding 6" descr="Afbeeldingsresultaat voor innovatie"/>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652969" y="2028735"/>
            <a:ext cx="3076575" cy="2786348"/>
          </a:xfrm>
          <a:prstGeom prst="rect">
            <a:avLst/>
          </a:prstGeom>
          <a:noFill/>
          <a:ln>
            <a:noFill/>
          </a:ln>
        </p:spPr>
      </p:pic>
      <p:pic>
        <p:nvPicPr>
          <p:cNvPr id="8" name="Afbeelding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14993" y="44271"/>
            <a:ext cx="1277007" cy="1277007"/>
          </a:xfrm>
          <a:prstGeom prst="rect">
            <a:avLst/>
          </a:prstGeom>
        </p:spPr>
      </p:pic>
    </p:spTree>
    <p:extLst>
      <p:ext uri="{BB962C8B-B14F-4D97-AF65-F5344CB8AC3E}">
        <p14:creationId xmlns:p14="http://schemas.microsoft.com/office/powerpoint/2010/main" val="3308486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958850" y="521140"/>
            <a:ext cx="10274300" cy="498598"/>
          </a:xfrm>
        </p:spPr>
        <p:txBody>
          <a:bodyPr/>
          <a:lstStyle/>
          <a:p>
            <a:r>
              <a:rPr lang="nl-NL" dirty="0" err="1" smtClean="0"/>
              <a:t>Prive</a:t>
            </a:r>
            <a:r>
              <a:rPr lang="nl-NL" dirty="0" smtClean="0"/>
              <a:t>-tip: </a:t>
            </a:r>
            <a:r>
              <a:rPr lang="nl-NL" dirty="0" err="1" smtClean="0"/>
              <a:t>Netflix</a:t>
            </a:r>
            <a:r>
              <a:rPr lang="nl-NL" dirty="0" smtClean="0"/>
              <a:t> </a:t>
            </a:r>
            <a:r>
              <a:rPr lang="nl-NL" dirty="0"/>
              <a:t>offline bekijken</a:t>
            </a:r>
          </a:p>
        </p:txBody>
      </p:sp>
      <p:sp>
        <p:nvSpPr>
          <p:cNvPr id="3" name="Tekstvak 2"/>
          <p:cNvSpPr txBox="1"/>
          <p:nvPr/>
        </p:nvSpPr>
        <p:spPr>
          <a:xfrm>
            <a:off x="958850" y="1605197"/>
            <a:ext cx="5963018" cy="3816429"/>
          </a:xfrm>
          <a:prstGeom prst="rect">
            <a:avLst/>
          </a:prstGeom>
          <a:noFill/>
        </p:spPr>
        <p:txBody>
          <a:bodyPr wrap="square" lIns="0" tIns="0" rIns="0" bIns="0" rtlCol="0">
            <a:spAutoFit/>
          </a:bodyPr>
          <a:lstStyle/>
          <a:p>
            <a:r>
              <a:rPr lang="nl-NL" b="1" dirty="0"/>
              <a:t>Wat heb je nodig om series en films op </a:t>
            </a:r>
            <a:r>
              <a:rPr lang="nl-NL" b="1" dirty="0" err="1"/>
              <a:t>Netflix</a:t>
            </a:r>
            <a:r>
              <a:rPr lang="nl-NL" b="1" dirty="0"/>
              <a:t> te </a:t>
            </a:r>
            <a:r>
              <a:rPr lang="nl-NL" b="1" dirty="0" smtClean="0"/>
              <a:t>downloaden?</a:t>
            </a:r>
            <a:endParaRPr lang="nl-NL" dirty="0"/>
          </a:p>
          <a:p>
            <a:pPr marL="342900" indent="-342900">
              <a:buFont typeface="Arial" panose="020B0604020202020204" pitchFamily="34" charset="0"/>
              <a:buChar char="•"/>
            </a:pPr>
            <a:r>
              <a:rPr lang="nl-NL" sz="2000" dirty="0" smtClean="0"/>
              <a:t>Een </a:t>
            </a:r>
            <a:r>
              <a:rPr lang="nl-NL" sz="2000" dirty="0"/>
              <a:t>internetverbinding </a:t>
            </a:r>
            <a:r>
              <a:rPr lang="nl-NL" sz="2000" dirty="0" smtClean="0"/>
              <a:t>en</a:t>
            </a:r>
          </a:p>
          <a:p>
            <a:pPr marL="342900" indent="-342900">
              <a:buFont typeface="Arial" panose="020B0604020202020204" pitchFamily="34" charset="0"/>
              <a:buChar char="•"/>
            </a:pPr>
            <a:r>
              <a:rPr lang="nl-NL" sz="2000" dirty="0" smtClean="0"/>
              <a:t>Een </a:t>
            </a:r>
            <a:r>
              <a:rPr lang="nl-NL" sz="2000" dirty="0"/>
              <a:t>actief </a:t>
            </a:r>
            <a:r>
              <a:rPr lang="nl-NL" sz="2000" dirty="0" err="1"/>
              <a:t>Netflix</a:t>
            </a:r>
            <a:r>
              <a:rPr lang="nl-NL" sz="2000" dirty="0"/>
              <a:t>-account </a:t>
            </a:r>
            <a:r>
              <a:rPr lang="nl-NL" sz="2000" dirty="0" smtClean="0"/>
              <a:t>en</a:t>
            </a:r>
          </a:p>
          <a:p>
            <a:pPr marL="342900" indent="-342900">
              <a:buFont typeface="Arial" panose="020B0604020202020204" pitchFamily="34" charset="0"/>
              <a:buChar char="•"/>
            </a:pPr>
            <a:r>
              <a:rPr lang="nl-NL" sz="2000" dirty="0" smtClean="0"/>
              <a:t>Een </a:t>
            </a:r>
            <a:r>
              <a:rPr lang="nl-NL" sz="2000" dirty="0"/>
              <a:t>iPhone, iPad of iPod </a:t>
            </a:r>
            <a:r>
              <a:rPr lang="nl-NL" sz="2000" dirty="0" err="1"/>
              <a:t>touch</a:t>
            </a:r>
            <a:r>
              <a:rPr lang="nl-NL" sz="2000" dirty="0"/>
              <a:t> met iOS 9.0 of later </a:t>
            </a:r>
            <a:r>
              <a:rPr lang="nl-NL" sz="2000" dirty="0" smtClean="0"/>
              <a:t>of</a:t>
            </a:r>
          </a:p>
          <a:p>
            <a:pPr marL="342900" indent="-342900">
              <a:buFont typeface="Arial" panose="020B0604020202020204" pitchFamily="34" charset="0"/>
              <a:buChar char="•"/>
            </a:pPr>
            <a:r>
              <a:rPr lang="nl-NL" sz="2000" dirty="0" smtClean="0"/>
              <a:t>Een </a:t>
            </a:r>
            <a:r>
              <a:rPr lang="nl-NL" sz="2000" dirty="0"/>
              <a:t>telefoon of tablet met Android 4.4.2 of later </a:t>
            </a:r>
            <a:r>
              <a:rPr lang="nl-NL" sz="2000" dirty="0" smtClean="0"/>
              <a:t>of</a:t>
            </a:r>
          </a:p>
          <a:p>
            <a:pPr marL="342900" indent="-342900">
              <a:buFont typeface="Arial" panose="020B0604020202020204" pitchFamily="34" charset="0"/>
              <a:buChar char="•"/>
            </a:pPr>
            <a:r>
              <a:rPr lang="nl-NL" sz="2000" dirty="0" smtClean="0"/>
              <a:t>Een </a:t>
            </a:r>
            <a:r>
              <a:rPr lang="nl-NL" sz="2000" dirty="0"/>
              <a:t>Amazon Fire-tablet met Fire OS 4.0 of later </a:t>
            </a:r>
            <a:r>
              <a:rPr lang="nl-NL" sz="2000" dirty="0" smtClean="0"/>
              <a:t>of</a:t>
            </a:r>
          </a:p>
          <a:p>
            <a:pPr marL="342900" indent="-342900">
              <a:buFont typeface="Arial" panose="020B0604020202020204" pitchFamily="34" charset="0"/>
              <a:buChar char="•"/>
            </a:pPr>
            <a:r>
              <a:rPr lang="nl-NL" sz="2000" dirty="0" smtClean="0"/>
              <a:t>Een </a:t>
            </a:r>
            <a:r>
              <a:rPr lang="nl-NL" sz="2000" dirty="0"/>
              <a:t>tablet of computer met Windows 10 versie 1607 (Jubileumupdate) of later </a:t>
            </a:r>
            <a:r>
              <a:rPr lang="nl-NL" sz="2000" dirty="0" smtClean="0"/>
              <a:t>en</a:t>
            </a:r>
          </a:p>
          <a:p>
            <a:pPr marL="342900" indent="-342900">
              <a:buFont typeface="Arial" panose="020B0604020202020204" pitchFamily="34" charset="0"/>
              <a:buChar char="•"/>
            </a:pPr>
            <a:r>
              <a:rPr lang="nl-NL" sz="2000" dirty="0" smtClean="0"/>
              <a:t>De </a:t>
            </a:r>
            <a:r>
              <a:rPr lang="nl-NL" sz="2000" dirty="0"/>
              <a:t>nieuwste versie van de </a:t>
            </a:r>
            <a:r>
              <a:rPr lang="nl-NL" sz="2000" u="sng" dirty="0" err="1">
                <a:hlinkClick r:id="rId2"/>
              </a:rPr>
              <a:t>Netflix</a:t>
            </a:r>
            <a:r>
              <a:rPr lang="nl-NL" sz="2000" u="sng" dirty="0">
                <a:hlinkClick r:id="rId2"/>
              </a:rPr>
              <a:t>-app voor Apple iOS</a:t>
            </a:r>
            <a:r>
              <a:rPr lang="nl-NL" sz="2000" dirty="0"/>
              <a:t>, </a:t>
            </a:r>
            <a:r>
              <a:rPr lang="nl-NL" sz="2000" u="sng" dirty="0" err="1">
                <a:hlinkClick r:id="rId3"/>
              </a:rPr>
              <a:t>Netflix</a:t>
            </a:r>
            <a:r>
              <a:rPr lang="nl-NL" sz="2000" u="sng" dirty="0">
                <a:hlinkClick r:id="rId3"/>
              </a:rPr>
              <a:t>-app voor Android</a:t>
            </a:r>
            <a:r>
              <a:rPr lang="nl-NL" sz="2000" dirty="0"/>
              <a:t>, </a:t>
            </a:r>
            <a:r>
              <a:rPr lang="nl-NL" sz="2000" u="sng" dirty="0">
                <a:hlinkClick r:id="rId4"/>
              </a:rPr>
              <a:t>Amazon Fire</a:t>
            </a:r>
            <a:r>
              <a:rPr lang="nl-NL" sz="2000" dirty="0"/>
              <a:t> of </a:t>
            </a:r>
            <a:r>
              <a:rPr lang="nl-NL" sz="2000" u="sng" dirty="0" err="1">
                <a:hlinkClick r:id="rId5"/>
              </a:rPr>
              <a:t>Netflix</a:t>
            </a:r>
            <a:r>
              <a:rPr lang="nl-NL" sz="2000" u="sng" dirty="0">
                <a:hlinkClick r:id="rId5"/>
              </a:rPr>
              <a:t>-app voor Windows 10</a:t>
            </a:r>
            <a:endParaRPr lang="nl-NL" sz="2000" dirty="0"/>
          </a:p>
        </p:txBody>
      </p:sp>
      <p:sp>
        <p:nvSpPr>
          <p:cNvPr id="5" name="Rechthoek 4"/>
          <p:cNvSpPr/>
          <p:nvPr/>
        </p:nvSpPr>
        <p:spPr>
          <a:xfrm>
            <a:off x="0" y="6065585"/>
            <a:ext cx="12192000" cy="7924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nl-NL"/>
          </a:p>
        </p:txBody>
      </p:sp>
      <p:pic>
        <p:nvPicPr>
          <p:cNvPr id="7" name="Afbeelding 6" descr="Afbeeldingsresultaat voor netflix offline bekijken"/>
          <p:cNvPicPr/>
          <p:nvPr/>
        </p:nvPicPr>
        <p:blipFill rotWithShape="1">
          <a:blip r:embed="rId6" cstate="print">
            <a:extLst>
              <a:ext uri="{28A0092B-C50C-407E-A947-70E740481C1C}">
                <a14:useLocalDpi xmlns:a14="http://schemas.microsoft.com/office/drawing/2010/main" val="0"/>
              </a:ext>
            </a:extLst>
          </a:blip>
          <a:srcRect l="29101" t="45551" r="26257"/>
          <a:stretch/>
        </p:blipFill>
        <p:spPr bwMode="auto">
          <a:xfrm>
            <a:off x="7064801" y="2189467"/>
            <a:ext cx="4748826" cy="2369426"/>
          </a:xfrm>
          <a:prstGeom prst="rect">
            <a:avLst/>
          </a:prstGeom>
          <a:noFill/>
          <a:ln>
            <a:noFill/>
          </a:ln>
          <a:extLst>
            <a:ext uri="{53640926-AAD7-44D8-BBD7-CCE9431645EC}">
              <a14:shadowObscured xmlns:a14="http://schemas.microsoft.com/office/drawing/2010/main"/>
            </a:ext>
          </a:extLst>
        </p:spPr>
      </p:pic>
      <p:pic>
        <p:nvPicPr>
          <p:cNvPr id="8" name="Afbeelding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914993" y="44271"/>
            <a:ext cx="1277007" cy="1277007"/>
          </a:xfrm>
          <a:prstGeom prst="rect">
            <a:avLst/>
          </a:prstGeom>
        </p:spPr>
      </p:pic>
    </p:spTree>
    <p:extLst>
      <p:ext uri="{BB962C8B-B14F-4D97-AF65-F5344CB8AC3E}">
        <p14:creationId xmlns:p14="http://schemas.microsoft.com/office/powerpoint/2010/main" val="2181834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hoek 4"/>
          <p:cNvSpPr/>
          <p:nvPr/>
        </p:nvSpPr>
        <p:spPr>
          <a:xfrm>
            <a:off x="0" y="2465614"/>
            <a:ext cx="12192000" cy="4392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nl-NL"/>
          </a:p>
        </p:txBody>
      </p:sp>
      <p:sp>
        <p:nvSpPr>
          <p:cNvPr id="2" name="Titel 1"/>
          <p:cNvSpPr>
            <a:spLocks noGrp="1"/>
          </p:cNvSpPr>
          <p:nvPr>
            <p:ph type="title"/>
          </p:nvPr>
        </p:nvSpPr>
        <p:spPr>
          <a:xfrm>
            <a:off x="351366" y="2878229"/>
            <a:ext cx="11489267" cy="2991588"/>
          </a:xfrm>
        </p:spPr>
        <p:txBody>
          <a:bodyPr/>
          <a:lstStyle/>
          <a:p>
            <a:pPr algn="ctr"/>
            <a:r>
              <a:rPr lang="nl-NL" sz="7200" dirty="0" smtClean="0"/>
              <a:t>Kijk ook eens op:</a:t>
            </a:r>
            <a:br>
              <a:rPr lang="nl-NL" sz="7200" dirty="0" smtClean="0"/>
            </a:br>
            <a:r>
              <a:rPr lang="nl-NL" sz="7200" dirty="0" smtClean="0"/>
              <a:t>www.digivaardigindezorg.nl en blijf bij! </a:t>
            </a:r>
            <a:endParaRPr lang="nl-NL" sz="7200" dirty="0"/>
          </a:p>
        </p:txBody>
      </p:sp>
      <p:pic>
        <p:nvPicPr>
          <p:cNvPr id="3" name="Afbeelding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0009" y="0"/>
            <a:ext cx="2671991" cy="2671991"/>
          </a:xfrm>
          <a:prstGeom prst="rect">
            <a:avLst/>
          </a:prstGeom>
        </p:spPr>
      </p:pic>
      <p:sp>
        <p:nvSpPr>
          <p:cNvPr id="4" name="Tekstvak 3"/>
          <p:cNvSpPr txBox="1"/>
          <p:nvPr/>
        </p:nvSpPr>
        <p:spPr>
          <a:xfrm>
            <a:off x="5878286" y="6282431"/>
            <a:ext cx="7643271" cy="369332"/>
          </a:xfrm>
          <a:prstGeom prst="rect">
            <a:avLst/>
          </a:prstGeom>
          <a:noFill/>
        </p:spPr>
        <p:txBody>
          <a:bodyPr wrap="square" lIns="0" tIns="0" rIns="0" bIns="0" rtlCol="0">
            <a:spAutoFit/>
          </a:bodyPr>
          <a:lstStyle/>
          <a:p>
            <a:pPr algn="l"/>
            <a:r>
              <a:rPr lang="nl-NL" i="1" dirty="0" smtClean="0">
                <a:solidFill>
                  <a:schemeClr val="bg1"/>
                </a:solidFill>
              </a:rPr>
              <a:t>Utrechtzorg, Suzanne Verheijden, augustus 2019</a:t>
            </a:r>
            <a:endParaRPr lang="nl-NL" i="1" dirty="0">
              <a:solidFill>
                <a:schemeClr val="bg1"/>
              </a:solidFill>
            </a:endParaRPr>
          </a:p>
        </p:txBody>
      </p:sp>
    </p:spTree>
    <p:extLst>
      <p:ext uri="{BB962C8B-B14F-4D97-AF65-F5344CB8AC3E}">
        <p14:creationId xmlns:p14="http://schemas.microsoft.com/office/powerpoint/2010/main" val="66816362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itel 5">
            <a:extLst>
              <a:ext uri="{FF2B5EF4-FFF2-40B4-BE49-F238E27FC236}">
                <a16:creationId xmlns="" xmlns:a16="http://schemas.microsoft.com/office/drawing/2014/main" id="{E6633DB4-6922-48EE-85AA-5F323BC071D7}"/>
              </a:ext>
            </a:extLst>
          </p:cNvPr>
          <p:cNvSpPr>
            <a:spLocks noGrp="1"/>
          </p:cNvSpPr>
          <p:nvPr>
            <p:ph type="title"/>
          </p:nvPr>
        </p:nvSpPr>
        <p:spPr>
          <a:xfrm>
            <a:off x="259155" y="570449"/>
            <a:ext cx="10515600" cy="1325563"/>
          </a:xfrm>
        </p:spPr>
        <p:txBody>
          <a:bodyPr/>
          <a:lstStyle/>
          <a:p>
            <a:r>
              <a:rPr lang="nl-NL" b="1" dirty="0" smtClean="0"/>
              <a:t>Digitalisering op de werkvloer</a:t>
            </a:r>
            <a:endParaRPr lang="nl-NL" b="1" dirty="0"/>
          </a:p>
        </p:txBody>
      </p:sp>
      <p:sp>
        <p:nvSpPr>
          <p:cNvPr id="3" name="Tekstvak 2"/>
          <p:cNvSpPr txBox="1"/>
          <p:nvPr/>
        </p:nvSpPr>
        <p:spPr>
          <a:xfrm>
            <a:off x="1198720" y="1705242"/>
            <a:ext cx="4945487" cy="3416320"/>
          </a:xfrm>
          <a:prstGeom prst="rect">
            <a:avLst/>
          </a:prstGeom>
          <a:noFill/>
          <a:ln w="76200">
            <a:solidFill>
              <a:srgbClr val="003B71"/>
            </a:solidFill>
          </a:ln>
        </p:spPr>
        <p:txBody>
          <a:bodyPr wrap="square" rtlCol="0">
            <a:spAutoFit/>
          </a:bodyPr>
          <a:lstStyle/>
          <a:p>
            <a:r>
              <a:rPr lang="nl-NL" b="1" dirty="0">
                <a:solidFill>
                  <a:srgbClr val="00A5CC"/>
                </a:solidFill>
              </a:rPr>
              <a:t>D</a:t>
            </a:r>
            <a:r>
              <a:rPr lang="nl-NL" b="1" dirty="0" smtClean="0">
                <a:solidFill>
                  <a:srgbClr val="00A5CC"/>
                </a:solidFill>
              </a:rPr>
              <a:t>igitaal werken:</a:t>
            </a:r>
          </a:p>
          <a:p>
            <a:r>
              <a:rPr lang="nl-NL" i="1" dirty="0" smtClean="0">
                <a:solidFill>
                  <a:srgbClr val="00A5CC"/>
                </a:solidFill>
              </a:rPr>
              <a:t>Het </a:t>
            </a:r>
            <a:r>
              <a:rPr lang="nl-NL" i="1" dirty="0">
                <a:solidFill>
                  <a:srgbClr val="00A5CC"/>
                </a:solidFill>
              </a:rPr>
              <a:t>gebruik van digitale ondersteuning (apparatuur en data) bij het monitoren, uitvoeren en begeleiden van administratieve taken en processen binnen de organisatie (roosters, ECD, </a:t>
            </a:r>
            <a:r>
              <a:rPr lang="nl-NL" i="1" dirty="0" err="1">
                <a:solidFill>
                  <a:srgbClr val="00A5CC"/>
                </a:solidFill>
              </a:rPr>
              <a:t>eHRM</a:t>
            </a:r>
            <a:r>
              <a:rPr lang="nl-NL" i="1" dirty="0">
                <a:solidFill>
                  <a:srgbClr val="00A5CC"/>
                </a:solidFill>
              </a:rPr>
              <a:t>, apps) voor en door </a:t>
            </a:r>
            <a:r>
              <a:rPr lang="nl-NL" i="1" dirty="0" smtClean="0">
                <a:solidFill>
                  <a:srgbClr val="00A5CC"/>
                </a:solidFill>
              </a:rPr>
              <a:t>medewerkers.</a:t>
            </a:r>
            <a:endParaRPr lang="nl-NL" dirty="0">
              <a:solidFill>
                <a:srgbClr val="00A5CC"/>
              </a:solidFill>
            </a:endParaRPr>
          </a:p>
          <a:p>
            <a:endParaRPr lang="nl-NL" dirty="0">
              <a:solidFill>
                <a:srgbClr val="00A5CC"/>
              </a:solidFill>
            </a:endParaRPr>
          </a:p>
        </p:txBody>
      </p:sp>
      <p:sp>
        <p:nvSpPr>
          <p:cNvPr id="7" name="Tekstvak 6"/>
          <p:cNvSpPr txBox="1"/>
          <p:nvPr/>
        </p:nvSpPr>
        <p:spPr>
          <a:xfrm>
            <a:off x="6424683" y="1705242"/>
            <a:ext cx="4945487" cy="3416320"/>
          </a:xfrm>
          <a:prstGeom prst="rect">
            <a:avLst/>
          </a:prstGeom>
          <a:noFill/>
          <a:ln w="76200">
            <a:solidFill>
              <a:srgbClr val="003B71"/>
            </a:solidFill>
          </a:ln>
        </p:spPr>
        <p:txBody>
          <a:bodyPr wrap="square" rtlCol="0">
            <a:spAutoFit/>
          </a:bodyPr>
          <a:lstStyle/>
          <a:p>
            <a:r>
              <a:rPr lang="nl-NL" b="1" dirty="0">
                <a:solidFill>
                  <a:srgbClr val="00A5CC"/>
                </a:solidFill>
              </a:rPr>
              <a:t>Z</a:t>
            </a:r>
            <a:r>
              <a:rPr lang="nl-NL" b="1" dirty="0" smtClean="0">
                <a:solidFill>
                  <a:srgbClr val="00A5CC"/>
                </a:solidFill>
              </a:rPr>
              <a:t>orgtechnologie</a:t>
            </a:r>
            <a:r>
              <a:rPr lang="nl-NL" dirty="0">
                <a:solidFill>
                  <a:srgbClr val="00A5CC"/>
                </a:solidFill>
              </a:rPr>
              <a:t>: 	</a:t>
            </a:r>
            <a:endParaRPr lang="nl-NL" dirty="0" smtClean="0">
              <a:solidFill>
                <a:srgbClr val="00A5CC"/>
              </a:solidFill>
            </a:endParaRPr>
          </a:p>
          <a:p>
            <a:r>
              <a:rPr lang="nl-NL" i="1" dirty="0" smtClean="0">
                <a:solidFill>
                  <a:srgbClr val="00A5CC"/>
                </a:solidFill>
              </a:rPr>
              <a:t>Technologie </a:t>
            </a:r>
            <a:r>
              <a:rPr lang="nl-NL" i="1" dirty="0">
                <a:solidFill>
                  <a:srgbClr val="00A5CC"/>
                </a:solidFill>
              </a:rPr>
              <a:t>om de kwaliteit van zorg te verbeteren voor medewerkers en </a:t>
            </a:r>
            <a:r>
              <a:rPr lang="nl-NL" i="1" dirty="0" smtClean="0">
                <a:solidFill>
                  <a:srgbClr val="00A5CC"/>
                </a:solidFill>
              </a:rPr>
              <a:t>cliënten. </a:t>
            </a:r>
          </a:p>
          <a:p>
            <a:r>
              <a:rPr lang="nl-NL" i="1" dirty="0" smtClean="0">
                <a:solidFill>
                  <a:srgbClr val="00A5CC"/>
                </a:solidFill>
              </a:rPr>
              <a:t>Producten, apps, websites, </a:t>
            </a:r>
            <a:r>
              <a:rPr lang="nl-NL" i="1" dirty="0" err="1" smtClean="0">
                <a:solidFill>
                  <a:srgbClr val="00A5CC"/>
                </a:solidFill>
              </a:rPr>
              <a:t>devices</a:t>
            </a:r>
            <a:r>
              <a:rPr lang="nl-NL" i="1" dirty="0" smtClean="0">
                <a:solidFill>
                  <a:srgbClr val="00A5CC"/>
                </a:solidFill>
              </a:rPr>
              <a:t> zoals smartphone en tablet.</a:t>
            </a:r>
          </a:p>
          <a:p>
            <a:endParaRPr lang="nl-NL" i="1" dirty="0">
              <a:solidFill>
                <a:srgbClr val="00A5CC"/>
              </a:solidFill>
            </a:endParaRPr>
          </a:p>
          <a:p>
            <a:endParaRPr lang="nl-NL" dirty="0">
              <a:solidFill>
                <a:srgbClr val="00A5CC"/>
              </a:solidFill>
            </a:endParaRPr>
          </a:p>
          <a:p>
            <a:endParaRPr lang="nl-NL" dirty="0">
              <a:solidFill>
                <a:srgbClr val="00A5CC"/>
              </a:solidFill>
            </a:endParaRPr>
          </a:p>
        </p:txBody>
      </p:sp>
      <p:sp>
        <p:nvSpPr>
          <p:cNvPr id="8" name="Rechthoek 7"/>
          <p:cNvSpPr/>
          <p:nvPr/>
        </p:nvSpPr>
        <p:spPr>
          <a:xfrm>
            <a:off x="0" y="6065585"/>
            <a:ext cx="12192000" cy="7924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nl-NL"/>
          </a:p>
        </p:txBody>
      </p:sp>
      <p:pic>
        <p:nvPicPr>
          <p:cNvPr id="9" name="Afbeelding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14993" y="44271"/>
            <a:ext cx="1277007" cy="1277007"/>
          </a:xfrm>
          <a:prstGeom prst="rect">
            <a:avLst/>
          </a:prstGeom>
        </p:spPr>
      </p:pic>
    </p:spTree>
    <p:extLst>
      <p:ext uri="{BB962C8B-B14F-4D97-AF65-F5344CB8AC3E}">
        <p14:creationId xmlns:p14="http://schemas.microsoft.com/office/powerpoint/2010/main" val="3206942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el 5">
            <a:extLst>
              <a:ext uri="{FF2B5EF4-FFF2-40B4-BE49-F238E27FC236}">
                <a16:creationId xmlns="" xmlns:a16="http://schemas.microsoft.com/office/drawing/2014/main" id="{E6633DB4-6922-48EE-85AA-5F323BC071D7}"/>
              </a:ext>
            </a:extLst>
          </p:cNvPr>
          <p:cNvSpPr txBox="1">
            <a:spLocks/>
          </p:cNvSpPr>
          <p:nvPr/>
        </p:nvSpPr>
        <p:spPr>
          <a:xfrm>
            <a:off x="196812" y="210144"/>
            <a:ext cx="10515600" cy="1325563"/>
          </a:xfrm>
          <a:prstGeom prst="rect">
            <a:avLst/>
          </a:prstGeom>
        </p:spPr>
        <p:txBody>
          <a:bodyPr vert="horz" wrap="square" lIns="0" tIns="0" rIns="0" bIns="0" rtlCol="0" anchor="t" anchorCtr="0">
            <a:spAutoFit/>
          </a:bodyPr>
          <a:lstStyle>
            <a:lvl1pPr algn="l" defTabSz="1219170" rtl="0" eaLnBrk="1" latinLnBrk="0" hangingPunct="1">
              <a:lnSpc>
                <a:spcPct val="90000"/>
              </a:lnSpc>
              <a:spcBef>
                <a:spcPct val="0"/>
              </a:spcBef>
              <a:buNone/>
              <a:defRPr sz="3600" b="1" kern="1200">
                <a:solidFill>
                  <a:schemeClr val="accent1"/>
                </a:solidFill>
                <a:latin typeface="+mj-lt"/>
                <a:ea typeface="+mj-ea"/>
                <a:cs typeface="+mj-cs"/>
              </a:defRPr>
            </a:lvl1pPr>
          </a:lstStyle>
          <a:p>
            <a:r>
              <a:rPr lang="nl-NL" smtClean="0"/>
              <a:t>Kansen digitalisering</a:t>
            </a:r>
            <a:endParaRPr lang="nl-NL" dirty="0"/>
          </a:p>
        </p:txBody>
      </p:sp>
      <p:sp>
        <p:nvSpPr>
          <p:cNvPr id="6" name="Tekstvak 5"/>
          <p:cNvSpPr txBox="1"/>
          <p:nvPr/>
        </p:nvSpPr>
        <p:spPr>
          <a:xfrm>
            <a:off x="470885" y="901950"/>
            <a:ext cx="1609858" cy="523220"/>
          </a:xfrm>
          <a:prstGeom prst="rect">
            <a:avLst/>
          </a:prstGeom>
          <a:noFill/>
        </p:spPr>
        <p:txBody>
          <a:bodyPr wrap="square" rtlCol="0">
            <a:spAutoFit/>
          </a:bodyPr>
          <a:lstStyle/>
          <a:p>
            <a:r>
              <a:rPr lang="nl-NL" sz="2800" b="1" dirty="0" smtClean="0">
                <a:solidFill>
                  <a:srgbClr val="003B71"/>
                </a:solidFill>
              </a:rPr>
              <a:t>Sneller</a:t>
            </a:r>
            <a:endParaRPr lang="nl-NL" sz="2800" b="1" dirty="0">
              <a:solidFill>
                <a:srgbClr val="003B71"/>
              </a:solidFill>
            </a:endParaRPr>
          </a:p>
        </p:txBody>
      </p:sp>
      <p:sp>
        <p:nvSpPr>
          <p:cNvPr id="7" name="Tekstvak 6"/>
          <p:cNvSpPr txBox="1"/>
          <p:nvPr/>
        </p:nvSpPr>
        <p:spPr>
          <a:xfrm>
            <a:off x="1997031" y="1509207"/>
            <a:ext cx="2796860" cy="523220"/>
          </a:xfrm>
          <a:prstGeom prst="rect">
            <a:avLst/>
          </a:prstGeom>
          <a:noFill/>
        </p:spPr>
        <p:txBody>
          <a:bodyPr wrap="square" rtlCol="0">
            <a:spAutoFit/>
          </a:bodyPr>
          <a:lstStyle/>
          <a:p>
            <a:r>
              <a:rPr lang="nl-NL" sz="2800" b="1" dirty="0" smtClean="0">
                <a:solidFill>
                  <a:srgbClr val="003B71"/>
                </a:solidFill>
              </a:rPr>
              <a:t>Efficiënter</a:t>
            </a:r>
            <a:endParaRPr lang="nl-NL" sz="2800" b="1" dirty="0">
              <a:solidFill>
                <a:srgbClr val="003B71"/>
              </a:solidFill>
            </a:endParaRPr>
          </a:p>
        </p:txBody>
      </p:sp>
      <p:sp>
        <p:nvSpPr>
          <p:cNvPr id="8" name="Tekstvak 7"/>
          <p:cNvSpPr txBox="1"/>
          <p:nvPr/>
        </p:nvSpPr>
        <p:spPr>
          <a:xfrm>
            <a:off x="449421" y="2179871"/>
            <a:ext cx="3052292" cy="523220"/>
          </a:xfrm>
          <a:prstGeom prst="rect">
            <a:avLst/>
          </a:prstGeom>
          <a:noFill/>
        </p:spPr>
        <p:txBody>
          <a:bodyPr wrap="square" rtlCol="0">
            <a:spAutoFit/>
          </a:bodyPr>
          <a:lstStyle/>
          <a:p>
            <a:r>
              <a:rPr lang="nl-NL" sz="2800" b="1" dirty="0" smtClean="0">
                <a:solidFill>
                  <a:srgbClr val="003B71"/>
                </a:solidFill>
              </a:rPr>
              <a:t>Minder fouten</a:t>
            </a:r>
            <a:endParaRPr lang="nl-NL" sz="2800" b="1" dirty="0">
              <a:solidFill>
                <a:srgbClr val="003B71"/>
              </a:solidFill>
            </a:endParaRPr>
          </a:p>
        </p:txBody>
      </p:sp>
      <p:sp>
        <p:nvSpPr>
          <p:cNvPr id="9" name="Tekstvak 8"/>
          <p:cNvSpPr txBox="1"/>
          <p:nvPr/>
        </p:nvSpPr>
        <p:spPr>
          <a:xfrm>
            <a:off x="3935301" y="2239685"/>
            <a:ext cx="3052292" cy="954107"/>
          </a:xfrm>
          <a:prstGeom prst="rect">
            <a:avLst/>
          </a:prstGeom>
          <a:noFill/>
        </p:spPr>
        <p:txBody>
          <a:bodyPr wrap="square" rtlCol="0">
            <a:spAutoFit/>
          </a:bodyPr>
          <a:lstStyle/>
          <a:p>
            <a:r>
              <a:rPr lang="nl-NL" sz="2800" b="1" dirty="0" smtClean="0">
                <a:solidFill>
                  <a:srgbClr val="003B71"/>
                </a:solidFill>
              </a:rPr>
              <a:t>Gevoel van ‘in control’ zijn</a:t>
            </a:r>
            <a:endParaRPr lang="nl-NL" sz="2800" b="1" dirty="0">
              <a:solidFill>
                <a:srgbClr val="003B71"/>
              </a:solidFill>
            </a:endParaRPr>
          </a:p>
        </p:txBody>
      </p:sp>
      <p:sp>
        <p:nvSpPr>
          <p:cNvPr id="10" name="Tekstvak 9"/>
          <p:cNvSpPr txBox="1"/>
          <p:nvPr/>
        </p:nvSpPr>
        <p:spPr>
          <a:xfrm>
            <a:off x="470885" y="4466313"/>
            <a:ext cx="3052292" cy="1384995"/>
          </a:xfrm>
          <a:prstGeom prst="rect">
            <a:avLst/>
          </a:prstGeom>
          <a:noFill/>
        </p:spPr>
        <p:txBody>
          <a:bodyPr wrap="square" rtlCol="0">
            <a:spAutoFit/>
          </a:bodyPr>
          <a:lstStyle/>
          <a:p>
            <a:r>
              <a:rPr lang="nl-NL" sz="2800" b="1" dirty="0" err="1" smtClean="0">
                <a:solidFill>
                  <a:srgbClr val="003B71"/>
                </a:solidFill>
              </a:rPr>
              <a:t>Tijd-en</a:t>
            </a:r>
            <a:r>
              <a:rPr lang="nl-NL" sz="2800" b="1" dirty="0" smtClean="0">
                <a:solidFill>
                  <a:srgbClr val="003B71"/>
                </a:solidFill>
              </a:rPr>
              <a:t> plaats onafhankelijk werken</a:t>
            </a:r>
            <a:endParaRPr lang="nl-NL" sz="2800" b="1" dirty="0">
              <a:solidFill>
                <a:srgbClr val="003B71"/>
              </a:solidFill>
            </a:endParaRPr>
          </a:p>
        </p:txBody>
      </p:sp>
      <p:sp>
        <p:nvSpPr>
          <p:cNvPr id="11" name="Tekstvak 10"/>
          <p:cNvSpPr txBox="1"/>
          <p:nvPr/>
        </p:nvSpPr>
        <p:spPr>
          <a:xfrm>
            <a:off x="1493681" y="3524456"/>
            <a:ext cx="4058991" cy="523220"/>
          </a:xfrm>
          <a:prstGeom prst="rect">
            <a:avLst/>
          </a:prstGeom>
          <a:noFill/>
        </p:spPr>
        <p:txBody>
          <a:bodyPr wrap="square" rtlCol="0">
            <a:spAutoFit/>
          </a:bodyPr>
          <a:lstStyle/>
          <a:p>
            <a:r>
              <a:rPr lang="nl-NL" sz="2800" b="1" dirty="0" smtClean="0">
                <a:solidFill>
                  <a:srgbClr val="003B71"/>
                </a:solidFill>
              </a:rPr>
              <a:t>‘Veilige’ opslag data</a:t>
            </a:r>
            <a:endParaRPr lang="nl-NL" sz="2800" b="1" dirty="0">
              <a:solidFill>
                <a:srgbClr val="003B71"/>
              </a:solidFill>
            </a:endParaRPr>
          </a:p>
        </p:txBody>
      </p:sp>
      <p:sp>
        <p:nvSpPr>
          <p:cNvPr id="12" name="Tekstvak 11"/>
          <p:cNvSpPr txBox="1"/>
          <p:nvPr/>
        </p:nvSpPr>
        <p:spPr>
          <a:xfrm>
            <a:off x="3501713" y="4680590"/>
            <a:ext cx="4058991" cy="954107"/>
          </a:xfrm>
          <a:prstGeom prst="rect">
            <a:avLst/>
          </a:prstGeom>
          <a:noFill/>
        </p:spPr>
        <p:txBody>
          <a:bodyPr wrap="square" rtlCol="0">
            <a:spAutoFit/>
          </a:bodyPr>
          <a:lstStyle/>
          <a:p>
            <a:r>
              <a:rPr lang="nl-NL" sz="2800" b="1" dirty="0" smtClean="0">
                <a:solidFill>
                  <a:srgbClr val="003B71"/>
                </a:solidFill>
              </a:rPr>
              <a:t>Mogelijkheden gebruik data</a:t>
            </a:r>
            <a:endParaRPr lang="nl-NL" sz="2800" b="1" dirty="0">
              <a:solidFill>
                <a:srgbClr val="003B71"/>
              </a:solidFill>
            </a:endParaRPr>
          </a:p>
        </p:txBody>
      </p:sp>
      <p:sp>
        <p:nvSpPr>
          <p:cNvPr id="13" name="Tekstvak 12"/>
          <p:cNvSpPr txBox="1"/>
          <p:nvPr/>
        </p:nvSpPr>
        <p:spPr>
          <a:xfrm>
            <a:off x="8075859" y="1496866"/>
            <a:ext cx="4058991" cy="523220"/>
          </a:xfrm>
          <a:prstGeom prst="rect">
            <a:avLst/>
          </a:prstGeom>
          <a:noFill/>
        </p:spPr>
        <p:txBody>
          <a:bodyPr wrap="square" rtlCol="0">
            <a:spAutoFit/>
          </a:bodyPr>
          <a:lstStyle/>
          <a:p>
            <a:r>
              <a:rPr lang="nl-NL" sz="2800" b="1" dirty="0" smtClean="0">
                <a:solidFill>
                  <a:srgbClr val="003B71"/>
                </a:solidFill>
              </a:rPr>
              <a:t>Bestanden altijd actueel</a:t>
            </a:r>
            <a:endParaRPr lang="nl-NL" sz="2800" b="1" dirty="0">
              <a:solidFill>
                <a:srgbClr val="003B71"/>
              </a:solidFill>
            </a:endParaRPr>
          </a:p>
        </p:txBody>
      </p:sp>
      <p:sp>
        <p:nvSpPr>
          <p:cNvPr id="14" name="Tekstvak 13"/>
          <p:cNvSpPr txBox="1"/>
          <p:nvPr/>
        </p:nvSpPr>
        <p:spPr>
          <a:xfrm>
            <a:off x="6596271" y="2591343"/>
            <a:ext cx="4058991" cy="523220"/>
          </a:xfrm>
          <a:prstGeom prst="rect">
            <a:avLst/>
          </a:prstGeom>
          <a:noFill/>
        </p:spPr>
        <p:txBody>
          <a:bodyPr wrap="square" rtlCol="0">
            <a:spAutoFit/>
          </a:bodyPr>
          <a:lstStyle/>
          <a:p>
            <a:r>
              <a:rPr lang="nl-NL" sz="2800" b="1" dirty="0" smtClean="0">
                <a:solidFill>
                  <a:srgbClr val="003B71"/>
                </a:solidFill>
              </a:rPr>
              <a:t>Beschikbare info internet</a:t>
            </a:r>
            <a:endParaRPr lang="nl-NL" sz="2800" b="1" dirty="0">
              <a:solidFill>
                <a:srgbClr val="003B71"/>
              </a:solidFill>
            </a:endParaRPr>
          </a:p>
        </p:txBody>
      </p:sp>
      <p:sp>
        <p:nvSpPr>
          <p:cNvPr id="15" name="Tekstvak 14"/>
          <p:cNvSpPr txBox="1"/>
          <p:nvPr/>
        </p:nvSpPr>
        <p:spPr>
          <a:xfrm>
            <a:off x="6987593" y="5371872"/>
            <a:ext cx="4058991" cy="523220"/>
          </a:xfrm>
          <a:prstGeom prst="rect">
            <a:avLst/>
          </a:prstGeom>
          <a:noFill/>
        </p:spPr>
        <p:txBody>
          <a:bodyPr wrap="square" rtlCol="0">
            <a:spAutoFit/>
          </a:bodyPr>
          <a:lstStyle/>
          <a:p>
            <a:r>
              <a:rPr lang="nl-NL" sz="2800" b="1" dirty="0" smtClean="0">
                <a:solidFill>
                  <a:srgbClr val="003B71"/>
                </a:solidFill>
              </a:rPr>
              <a:t>Duurzamer</a:t>
            </a:r>
            <a:endParaRPr lang="nl-NL" sz="2800" b="1" dirty="0">
              <a:solidFill>
                <a:srgbClr val="003B71"/>
              </a:solidFill>
            </a:endParaRPr>
          </a:p>
        </p:txBody>
      </p:sp>
      <p:sp>
        <p:nvSpPr>
          <p:cNvPr id="16" name="Tekstvak 15"/>
          <p:cNvSpPr txBox="1"/>
          <p:nvPr/>
        </p:nvSpPr>
        <p:spPr>
          <a:xfrm>
            <a:off x="4405380" y="1201479"/>
            <a:ext cx="4058991" cy="523220"/>
          </a:xfrm>
          <a:prstGeom prst="rect">
            <a:avLst/>
          </a:prstGeom>
          <a:noFill/>
        </p:spPr>
        <p:txBody>
          <a:bodyPr wrap="square" rtlCol="0">
            <a:spAutoFit/>
          </a:bodyPr>
          <a:lstStyle/>
          <a:p>
            <a:r>
              <a:rPr lang="nl-NL" sz="2800" b="1" dirty="0" smtClean="0">
                <a:solidFill>
                  <a:srgbClr val="003B71"/>
                </a:solidFill>
              </a:rPr>
              <a:t>Minder reistijd</a:t>
            </a:r>
            <a:endParaRPr lang="nl-NL" sz="2800" b="1" dirty="0">
              <a:solidFill>
                <a:srgbClr val="003B71"/>
              </a:solidFill>
            </a:endParaRPr>
          </a:p>
        </p:txBody>
      </p:sp>
      <p:sp>
        <p:nvSpPr>
          <p:cNvPr id="17" name="Tekstvak 16"/>
          <p:cNvSpPr txBox="1"/>
          <p:nvPr/>
        </p:nvSpPr>
        <p:spPr>
          <a:xfrm>
            <a:off x="6824334" y="3499752"/>
            <a:ext cx="3602863" cy="954107"/>
          </a:xfrm>
          <a:prstGeom prst="rect">
            <a:avLst/>
          </a:prstGeom>
          <a:noFill/>
        </p:spPr>
        <p:txBody>
          <a:bodyPr wrap="square" rtlCol="0">
            <a:spAutoFit/>
          </a:bodyPr>
          <a:lstStyle/>
          <a:p>
            <a:r>
              <a:rPr lang="nl-NL" sz="2800" b="1" dirty="0" smtClean="0">
                <a:solidFill>
                  <a:srgbClr val="003B71"/>
                </a:solidFill>
              </a:rPr>
              <a:t>Kennis makkelijk deelbaar</a:t>
            </a:r>
            <a:endParaRPr lang="nl-NL" sz="2800" b="1" dirty="0">
              <a:solidFill>
                <a:srgbClr val="003B71"/>
              </a:solidFill>
            </a:endParaRPr>
          </a:p>
        </p:txBody>
      </p:sp>
      <p:sp>
        <p:nvSpPr>
          <p:cNvPr id="18" name="Tekstvak 17"/>
          <p:cNvSpPr txBox="1"/>
          <p:nvPr/>
        </p:nvSpPr>
        <p:spPr>
          <a:xfrm>
            <a:off x="9270909" y="4488171"/>
            <a:ext cx="4058991" cy="954107"/>
          </a:xfrm>
          <a:prstGeom prst="rect">
            <a:avLst/>
          </a:prstGeom>
          <a:noFill/>
        </p:spPr>
        <p:txBody>
          <a:bodyPr wrap="square" rtlCol="0">
            <a:spAutoFit/>
          </a:bodyPr>
          <a:lstStyle/>
          <a:p>
            <a:r>
              <a:rPr lang="nl-NL" sz="2800" b="1" dirty="0" smtClean="0">
                <a:solidFill>
                  <a:srgbClr val="003B71"/>
                </a:solidFill>
              </a:rPr>
              <a:t>Kan mankracht </a:t>
            </a:r>
          </a:p>
          <a:p>
            <a:r>
              <a:rPr lang="nl-NL" sz="2800" b="1" dirty="0" smtClean="0">
                <a:solidFill>
                  <a:srgbClr val="003B71"/>
                </a:solidFill>
              </a:rPr>
              <a:t>vervangen</a:t>
            </a:r>
            <a:endParaRPr lang="nl-NL" sz="2800" b="1" dirty="0">
              <a:solidFill>
                <a:srgbClr val="003B71"/>
              </a:solidFill>
            </a:endParaRPr>
          </a:p>
        </p:txBody>
      </p:sp>
      <p:sp>
        <p:nvSpPr>
          <p:cNvPr id="19" name="Rechthoek 18"/>
          <p:cNvSpPr/>
          <p:nvPr/>
        </p:nvSpPr>
        <p:spPr>
          <a:xfrm>
            <a:off x="0" y="6065585"/>
            <a:ext cx="12192000" cy="7924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nl-NL"/>
          </a:p>
        </p:txBody>
      </p:sp>
      <p:pic>
        <p:nvPicPr>
          <p:cNvPr id="20" name="Afbeelding 1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14993" y="44271"/>
            <a:ext cx="1277007" cy="1277007"/>
          </a:xfrm>
          <a:prstGeom prst="rect">
            <a:avLst/>
          </a:prstGeom>
        </p:spPr>
      </p:pic>
    </p:spTree>
    <p:extLst>
      <p:ext uri="{BB962C8B-B14F-4D97-AF65-F5344CB8AC3E}">
        <p14:creationId xmlns:p14="http://schemas.microsoft.com/office/powerpoint/2010/main" val="145756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1"/>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7"/>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2">
                                            <p:txEl>
                                              <p:pRg st="0" end="0"/>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5">
                                            <p:txEl>
                                              <p:pRg st="0" end="0"/>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P spid="11" grpId="0"/>
      <p:bldP spid="13" grpId="0"/>
      <p:bldP spid="14" grpId="0"/>
      <p:bldP spid="16" grpId="0"/>
      <p:bldP spid="17" grpId="0"/>
      <p:bldP spid="18" grpId="0"/>
    </p:bld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Rechthoek 5"/>
          <p:cNvSpPr/>
          <p:nvPr/>
        </p:nvSpPr>
        <p:spPr>
          <a:xfrm>
            <a:off x="-171816" y="1189920"/>
            <a:ext cx="12391697" cy="412398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nl-NL"/>
          </a:p>
        </p:txBody>
      </p:sp>
      <p:sp>
        <p:nvSpPr>
          <p:cNvPr id="2" name="Titel 1"/>
          <p:cNvSpPr>
            <a:spLocks noGrp="1"/>
          </p:cNvSpPr>
          <p:nvPr>
            <p:ph type="title"/>
          </p:nvPr>
        </p:nvSpPr>
        <p:spPr>
          <a:xfrm>
            <a:off x="279400" y="1126199"/>
            <a:ext cx="11489267" cy="3656386"/>
          </a:xfrm>
        </p:spPr>
        <p:txBody>
          <a:bodyPr/>
          <a:lstStyle/>
          <a:p>
            <a:pPr algn="ctr"/>
            <a:r>
              <a:rPr lang="nl-NL" sz="8800" dirty="0" smtClean="0">
                <a:solidFill>
                  <a:schemeClr val="tx1"/>
                </a:solidFill>
              </a:rPr>
              <a:t/>
            </a:r>
            <a:br>
              <a:rPr lang="nl-NL" sz="8800" dirty="0" smtClean="0">
                <a:solidFill>
                  <a:schemeClr val="tx1"/>
                </a:solidFill>
              </a:rPr>
            </a:br>
            <a:r>
              <a:rPr lang="nl-NL" sz="8800" dirty="0" smtClean="0">
                <a:solidFill>
                  <a:schemeClr val="tx1"/>
                </a:solidFill>
              </a:rPr>
              <a:t>25 tips &amp; </a:t>
            </a:r>
            <a:r>
              <a:rPr lang="nl-NL" sz="8800" dirty="0" err="1">
                <a:solidFill>
                  <a:schemeClr val="tx1"/>
                </a:solidFill>
              </a:rPr>
              <a:t>t</a:t>
            </a:r>
            <a:r>
              <a:rPr lang="nl-NL" sz="8800" dirty="0" err="1" smtClean="0">
                <a:solidFill>
                  <a:schemeClr val="tx1"/>
                </a:solidFill>
              </a:rPr>
              <a:t>rics</a:t>
            </a:r>
            <a:r>
              <a:rPr lang="nl-NL" sz="8800" dirty="0" smtClean="0">
                <a:solidFill>
                  <a:schemeClr val="tx1"/>
                </a:solidFill>
              </a:rPr>
              <a:t> voor je dagelijkse praktijk</a:t>
            </a:r>
            <a:endParaRPr lang="nl-NL" sz="8800" dirty="0">
              <a:solidFill>
                <a:schemeClr val="tx1"/>
              </a:solidFill>
            </a:endParaRPr>
          </a:p>
        </p:txBody>
      </p:sp>
      <p:sp>
        <p:nvSpPr>
          <p:cNvPr id="3" name="Rechthoek 2"/>
          <p:cNvSpPr/>
          <p:nvPr/>
        </p:nvSpPr>
        <p:spPr>
          <a:xfrm>
            <a:off x="10634133" y="6189133"/>
            <a:ext cx="1134534" cy="56726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nl-NL"/>
          </a:p>
        </p:txBody>
      </p:sp>
      <p:pic>
        <p:nvPicPr>
          <p:cNvPr id="7" name="Afbeelding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34297" y="5845225"/>
            <a:ext cx="1734206" cy="911175"/>
          </a:xfrm>
          <a:prstGeom prst="rect">
            <a:avLst/>
          </a:prstGeom>
        </p:spPr>
      </p:pic>
      <p:sp>
        <p:nvSpPr>
          <p:cNvPr id="8" name="Tekstvak 7"/>
          <p:cNvSpPr txBox="1"/>
          <p:nvPr/>
        </p:nvSpPr>
        <p:spPr>
          <a:xfrm>
            <a:off x="7174040" y="6157601"/>
            <a:ext cx="3460093" cy="369332"/>
          </a:xfrm>
          <a:prstGeom prst="rect">
            <a:avLst/>
          </a:prstGeom>
          <a:noFill/>
        </p:spPr>
        <p:txBody>
          <a:bodyPr wrap="square" lIns="0" tIns="0" rIns="0" bIns="0" rtlCol="0">
            <a:spAutoFit/>
          </a:bodyPr>
          <a:lstStyle/>
          <a:p>
            <a:pPr algn="l"/>
            <a:r>
              <a:rPr lang="nl-NL" dirty="0" smtClean="0"/>
              <a:t>Bron: Oh, kan dat ook zo!?</a:t>
            </a:r>
            <a:endParaRPr lang="nl-NL" dirty="0"/>
          </a:p>
        </p:txBody>
      </p:sp>
    </p:spTree>
    <p:extLst>
      <p:ext uri="{BB962C8B-B14F-4D97-AF65-F5344CB8AC3E}">
        <p14:creationId xmlns:p14="http://schemas.microsoft.com/office/powerpoint/2010/main" val="267580241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Dubbele spaties verwijderen</a:t>
            </a:r>
            <a:endParaRPr lang="nl-NL" dirty="0"/>
          </a:p>
        </p:txBody>
      </p:sp>
      <p:sp>
        <p:nvSpPr>
          <p:cNvPr id="3" name="AutoShape 2" descr="Afbeeldingsresultaat voor dubbele spaties vervangen"/>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l-NL"/>
          </a:p>
        </p:txBody>
      </p:sp>
      <p:sp>
        <p:nvSpPr>
          <p:cNvPr id="4" name="AutoShape 4" descr="Afbeeldingsresultaat voor dubbele spaties vervangen"/>
          <p:cNvSpPr>
            <a:spLocks noChangeAspect="1" noChangeArrowheads="1"/>
          </p:cNvSpPr>
          <p:nvPr/>
        </p:nvSpPr>
        <p:spPr bwMode="auto">
          <a:xfrm>
            <a:off x="215900"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l-NL"/>
          </a:p>
        </p:txBody>
      </p:sp>
      <p:pic>
        <p:nvPicPr>
          <p:cNvPr id="26630" name="Picture 6" descr="Afbeeldingsresultaat voor dubbele spaties vervangen">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59690" y="2327705"/>
            <a:ext cx="5495925" cy="2190750"/>
          </a:xfrm>
          <a:prstGeom prst="rect">
            <a:avLst/>
          </a:prstGeom>
          <a:noFill/>
          <a:extLst>
            <a:ext uri="{909E8E84-426E-40DD-AFC4-6F175D3DCCD1}">
              <a14:hiddenFill xmlns:a14="http://schemas.microsoft.com/office/drawing/2010/main">
                <a:solidFill>
                  <a:srgbClr val="FFFFFF"/>
                </a:solidFill>
              </a14:hiddenFill>
            </a:ext>
          </a:extLst>
        </p:spPr>
      </p:pic>
      <p:sp>
        <p:nvSpPr>
          <p:cNvPr id="5" name="Tekstvak 4"/>
          <p:cNvSpPr txBox="1"/>
          <p:nvPr/>
        </p:nvSpPr>
        <p:spPr>
          <a:xfrm>
            <a:off x="1216617" y="2499750"/>
            <a:ext cx="4060556" cy="2215991"/>
          </a:xfrm>
          <a:prstGeom prst="rect">
            <a:avLst/>
          </a:prstGeom>
          <a:noFill/>
        </p:spPr>
        <p:txBody>
          <a:bodyPr wrap="square" lIns="0" tIns="0" rIns="0" bIns="0" rtlCol="0">
            <a:spAutoFit/>
          </a:bodyPr>
          <a:lstStyle/>
          <a:p>
            <a:pPr marL="457200" indent="-457200">
              <a:buFont typeface="+mj-lt"/>
              <a:buAutoNum type="arabicPeriod"/>
            </a:pPr>
            <a:r>
              <a:rPr lang="nl-NL" dirty="0"/>
              <a:t>Dubbele spatie intypen bij </a:t>
            </a:r>
            <a:r>
              <a:rPr lang="nl-NL" dirty="0" smtClean="0"/>
              <a:t>‘zoeken naar’</a:t>
            </a:r>
            <a:endParaRPr lang="nl-NL" dirty="0"/>
          </a:p>
          <a:p>
            <a:pPr marL="457200" indent="-457200">
              <a:buFont typeface="+mj-lt"/>
              <a:buAutoNum type="arabicPeriod"/>
            </a:pPr>
            <a:r>
              <a:rPr lang="nl-NL" dirty="0"/>
              <a:t>Enkele spatie intypen bij </a:t>
            </a:r>
            <a:r>
              <a:rPr lang="nl-NL" dirty="0" smtClean="0"/>
              <a:t>‘vervangen door’</a:t>
            </a:r>
          </a:p>
          <a:p>
            <a:pPr marL="457200" indent="-457200">
              <a:buFont typeface="+mj-lt"/>
              <a:buAutoNum type="arabicPeriod"/>
            </a:pPr>
            <a:r>
              <a:rPr lang="nl-NL" dirty="0" smtClean="0"/>
              <a:t>Alles vervangen</a:t>
            </a:r>
            <a:endParaRPr lang="nl-NL" dirty="0"/>
          </a:p>
          <a:p>
            <a:pPr algn="l"/>
            <a:endParaRPr lang="nl-NL" dirty="0" err="1"/>
          </a:p>
        </p:txBody>
      </p:sp>
      <p:sp>
        <p:nvSpPr>
          <p:cNvPr id="7" name="Rechthoek 6"/>
          <p:cNvSpPr/>
          <p:nvPr/>
        </p:nvSpPr>
        <p:spPr>
          <a:xfrm>
            <a:off x="0" y="6065585"/>
            <a:ext cx="12192000" cy="7924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nl-NL"/>
          </a:p>
        </p:txBody>
      </p:sp>
      <p:pic>
        <p:nvPicPr>
          <p:cNvPr id="8" name="Afbeelding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14993" y="44271"/>
            <a:ext cx="1277007" cy="1277007"/>
          </a:xfrm>
          <a:prstGeom prst="rect">
            <a:avLst/>
          </a:prstGeom>
        </p:spPr>
      </p:pic>
    </p:spTree>
    <p:extLst>
      <p:ext uri="{BB962C8B-B14F-4D97-AF65-F5344CB8AC3E}">
        <p14:creationId xmlns:p14="http://schemas.microsoft.com/office/powerpoint/2010/main" val="3182212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Google Lens</a:t>
            </a:r>
            <a:endParaRPr lang="nl-NL" dirty="0"/>
          </a:p>
        </p:txBody>
      </p:sp>
      <p:pic>
        <p:nvPicPr>
          <p:cNvPr id="3" name="Afbeelding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99779" y="892176"/>
            <a:ext cx="4342280" cy="4342280"/>
          </a:xfrm>
          <a:prstGeom prst="rect">
            <a:avLst/>
          </a:prstGeom>
        </p:spPr>
      </p:pic>
      <p:sp>
        <p:nvSpPr>
          <p:cNvPr id="4" name="Tekstvak 3"/>
          <p:cNvSpPr txBox="1"/>
          <p:nvPr/>
        </p:nvSpPr>
        <p:spPr>
          <a:xfrm>
            <a:off x="1185621" y="2301497"/>
            <a:ext cx="4595247" cy="1846659"/>
          </a:xfrm>
          <a:prstGeom prst="rect">
            <a:avLst/>
          </a:prstGeom>
          <a:noFill/>
        </p:spPr>
        <p:txBody>
          <a:bodyPr wrap="square" lIns="0" tIns="0" rIns="0" bIns="0" rtlCol="0">
            <a:spAutoFit/>
          </a:bodyPr>
          <a:lstStyle/>
          <a:p>
            <a:r>
              <a:rPr lang="nl-NL" dirty="0"/>
              <a:t>App om voorwerpen, gebouwen, mensen te scannen en herkennen. Bijvoorbeeld: welk gebouw is dit? Welke bloem is dit? Alleen Android</a:t>
            </a:r>
          </a:p>
          <a:p>
            <a:pPr algn="l"/>
            <a:endParaRPr lang="nl-NL" dirty="0" err="1"/>
          </a:p>
        </p:txBody>
      </p:sp>
      <p:sp>
        <p:nvSpPr>
          <p:cNvPr id="5" name="Rechthoek 4"/>
          <p:cNvSpPr/>
          <p:nvPr/>
        </p:nvSpPr>
        <p:spPr>
          <a:xfrm>
            <a:off x="0" y="6065585"/>
            <a:ext cx="12192000" cy="7924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nl-NL"/>
          </a:p>
        </p:txBody>
      </p:sp>
      <p:pic>
        <p:nvPicPr>
          <p:cNvPr id="6" name="Afbeelding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914993" y="44271"/>
            <a:ext cx="1277007" cy="1277007"/>
          </a:xfrm>
          <a:prstGeom prst="rect">
            <a:avLst/>
          </a:prstGeom>
        </p:spPr>
      </p:pic>
    </p:spTree>
    <p:extLst>
      <p:ext uri="{BB962C8B-B14F-4D97-AF65-F5344CB8AC3E}">
        <p14:creationId xmlns:p14="http://schemas.microsoft.com/office/powerpoint/2010/main" val="3437597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smtClean="0"/>
              <a:t>Wachtwoordmanager Lastpass</a:t>
            </a:r>
            <a:endParaRPr lang="nl-NL" dirty="0"/>
          </a:p>
        </p:txBody>
      </p:sp>
      <p:pic>
        <p:nvPicPr>
          <p:cNvPr id="3" name="Afbeelding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59262" y="1390774"/>
            <a:ext cx="3970283" cy="3970283"/>
          </a:xfrm>
          <a:prstGeom prst="rect">
            <a:avLst/>
          </a:prstGeom>
        </p:spPr>
      </p:pic>
      <p:sp>
        <p:nvSpPr>
          <p:cNvPr id="4" name="Tekstvak 3"/>
          <p:cNvSpPr txBox="1"/>
          <p:nvPr/>
        </p:nvSpPr>
        <p:spPr>
          <a:xfrm>
            <a:off x="1170122" y="2131017"/>
            <a:ext cx="4347275" cy="1477328"/>
          </a:xfrm>
          <a:prstGeom prst="rect">
            <a:avLst/>
          </a:prstGeom>
          <a:noFill/>
        </p:spPr>
        <p:txBody>
          <a:bodyPr wrap="square" lIns="0" tIns="0" rIns="0" bIns="0" rtlCol="0">
            <a:spAutoFit/>
          </a:bodyPr>
          <a:lstStyle/>
          <a:p>
            <a:r>
              <a:rPr lang="nl-NL" dirty="0"/>
              <a:t>App om je wachtwoorden veilig op te slaan en maar 1 wachtwoord te hoeven onthouden</a:t>
            </a:r>
          </a:p>
          <a:p>
            <a:pPr algn="l"/>
            <a:endParaRPr lang="nl-NL" dirty="0" err="1"/>
          </a:p>
        </p:txBody>
      </p:sp>
      <p:sp>
        <p:nvSpPr>
          <p:cNvPr id="5" name="Rechthoek 4"/>
          <p:cNvSpPr/>
          <p:nvPr/>
        </p:nvSpPr>
        <p:spPr>
          <a:xfrm>
            <a:off x="0" y="6065585"/>
            <a:ext cx="12192000" cy="7924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nl-NL"/>
          </a:p>
        </p:txBody>
      </p:sp>
      <p:pic>
        <p:nvPicPr>
          <p:cNvPr id="6" name="Afbeelding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914993" y="44271"/>
            <a:ext cx="1277007" cy="1277007"/>
          </a:xfrm>
          <a:prstGeom prst="rect">
            <a:avLst/>
          </a:prstGeom>
        </p:spPr>
      </p:pic>
    </p:spTree>
    <p:extLst>
      <p:ext uri="{BB962C8B-B14F-4D97-AF65-F5344CB8AC3E}">
        <p14:creationId xmlns:p14="http://schemas.microsoft.com/office/powerpoint/2010/main" val="724755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LOPLl7KQTBGxkHdBdYMwt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OPLl7KQTBGxkHdBdYMwt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gvHsUZNnSzGF5sT5Vzh83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gvHsUZNnSzGF5sT5Vzh83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gccoK_fsQW22HJi95FYPA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gccoK_fsQW22HJi95FYPA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gccoK_fsQW22HJi95FYPA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gccoK_fsQW22HJi95FYPA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uL1Vdy2vv0uuHDqFhrJL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eLci1RQT0mTvTOdNPgbJ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c8YrzSaSRyS2KBYXWGTT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LOPLl7KQTBGxkHdBdYMwt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LOPLl7KQTBGxkHdBdYMwtw"/>
</p:tagLst>
</file>

<file path=ppt/theme/theme1.xml><?xml version="1.0" encoding="utf-8"?>
<a:theme xmlns:a="http://schemas.openxmlformats.org/drawingml/2006/main" name="PPT template SHL 16-9">
  <a:themeElements>
    <a:clrScheme name="SHL">
      <a:dk1>
        <a:sysClr val="windowText" lastClr="000000"/>
      </a:dk1>
      <a:lt1>
        <a:sysClr val="window" lastClr="FFFFFF"/>
      </a:lt1>
      <a:dk2>
        <a:srgbClr val="000000"/>
      </a:dk2>
      <a:lt2>
        <a:srgbClr val="FFFFFF"/>
      </a:lt2>
      <a:accent1>
        <a:srgbClr val="00AED6"/>
      </a:accent1>
      <a:accent2>
        <a:srgbClr val="006D68"/>
      </a:accent2>
      <a:accent3>
        <a:srgbClr val="008BCE"/>
      </a:accent3>
      <a:accent4>
        <a:srgbClr val="EF60A3"/>
      </a:accent4>
      <a:accent5>
        <a:srgbClr val="EA7600"/>
      </a:accent5>
      <a:accent6>
        <a:srgbClr val="EB3300"/>
      </a:accent6>
      <a:hlink>
        <a:srgbClr val="000000"/>
      </a:hlink>
      <a:folHlink>
        <a:srgbClr val="7F7F7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Kantoorth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72000" rIns="72000" bIns="72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dirty="0" err="1"/>
        </a:defPPr>
      </a:lstStyle>
    </a:txDef>
  </a:objectDefaults>
  <a:extraClrSchemeLst/>
  <a:extLst>
    <a:ext uri="{05A4C25C-085E-4340-85A3-A5531E510DB2}">
      <thm15:themeFamily xmlns:thm15="http://schemas.microsoft.com/office/thememl/2012/main" name="PPT template SHL 16-9.potx" id="{0154889A-5619-40DE-A82D-141F96D64922}" vid="{37AE852E-3223-4AEA-9B03-81BB8BF3C07C}"/>
    </a:ext>
  </a:extLst>
</a:theme>
</file>

<file path=ppt/theme/theme2.xml><?xml version="1.0" encoding="utf-8"?>
<a:theme xmlns:a="http://schemas.openxmlformats.org/drawingml/2006/main" name="Kantoorthema">
  <a:themeElements>
    <a:clrScheme name="SHL">
      <a:dk1>
        <a:sysClr val="windowText" lastClr="000000"/>
      </a:dk1>
      <a:lt1>
        <a:sysClr val="window" lastClr="FFFFFF"/>
      </a:lt1>
      <a:dk2>
        <a:srgbClr val="000000"/>
      </a:dk2>
      <a:lt2>
        <a:srgbClr val="FFFFFF"/>
      </a:lt2>
      <a:accent1>
        <a:srgbClr val="00AED6"/>
      </a:accent1>
      <a:accent2>
        <a:srgbClr val="006D68"/>
      </a:accent2>
      <a:accent3>
        <a:srgbClr val="008BCE"/>
      </a:accent3>
      <a:accent4>
        <a:srgbClr val="EF60A3"/>
      </a:accent4>
      <a:accent5>
        <a:srgbClr val="EA7600"/>
      </a:accent5>
      <a:accent6>
        <a:srgbClr val="EB3300"/>
      </a:accent6>
      <a:hlink>
        <a:srgbClr val="000000"/>
      </a:hlink>
      <a:folHlink>
        <a:srgbClr val="7F7F7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Subtiel effen">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Kantoorthema">
  <a:themeElements>
    <a:clrScheme name="SHL">
      <a:dk1>
        <a:sysClr val="windowText" lastClr="000000"/>
      </a:dk1>
      <a:lt1>
        <a:sysClr val="window" lastClr="FFFFFF"/>
      </a:lt1>
      <a:dk2>
        <a:srgbClr val="000000"/>
      </a:dk2>
      <a:lt2>
        <a:srgbClr val="FFFFFF"/>
      </a:lt2>
      <a:accent1>
        <a:srgbClr val="00AED6"/>
      </a:accent1>
      <a:accent2>
        <a:srgbClr val="006D68"/>
      </a:accent2>
      <a:accent3>
        <a:srgbClr val="008BCE"/>
      </a:accent3>
      <a:accent4>
        <a:srgbClr val="EF60A3"/>
      </a:accent4>
      <a:accent5>
        <a:srgbClr val="EA7600"/>
      </a:accent5>
      <a:accent6>
        <a:srgbClr val="EB3300"/>
      </a:accent6>
      <a:hlink>
        <a:srgbClr val="000000"/>
      </a:hlink>
      <a:folHlink>
        <a:srgbClr val="7F7F7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Subtiel effen">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 template SHL 16-9</Template>
  <TotalTime>383</TotalTime>
  <Words>1193</Words>
  <Application>Microsoft Office PowerPoint</Application>
  <PresentationFormat>Breedbeeld</PresentationFormat>
  <Paragraphs>152</Paragraphs>
  <Slides>32</Slides>
  <Notes>9</Notes>
  <HiddenSlides>0</HiddenSlides>
  <MMClips>0</MMClips>
  <ScaleCrop>false</ScaleCrop>
  <HeadingPairs>
    <vt:vector size="8" baseType="variant">
      <vt:variant>
        <vt:lpstr>Gebruikte lettertypen</vt:lpstr>
      </vt:variant>
      <vt:variant>
        <vt:i4>7</vt:i4>
      </vt:variant>
      <vt:variant>
        <vt:lpstr>Thema</vt:lpstr>
      </vt:variant>
      <vt:variant>
        <vt:i4>1</vt:i4>
      </vt:variant>
      <vt:variant>
        <vt:lpstr>Ingesloten OLE-bronprogramma's</vt:lpstr>
      </vt:variant>
      <vt:variant>
        <vt:i4>1</vt:i4>
      </vt:variant>
      <vt:variant>
        <vt:lpstr>Diatitels</vt:lpstr>
      </vt:variant>
      <vt:variant>
        <vt:i4>32</vt:i4>
      </vt:variant>
    </vt:vector>
  </HeadingPairs>
  <TitlesOfParts>
    <vt:vector size="41" baseType="lpstr">
      <vt:lpstr>Arial</vt:lpstr>
      <vt:lpstr>Calibri</vt:lpstr>
      <vt:lpstr>Calibri Light</vt:lpstr>
      <vt:lpstr>Lato</vt:lpstr>
      <vt:lpstr>Lato-Regular</vt:lpstr>
      <vt:lpstr>Times New Roman</vt:lpstr>
      <vt:lpstr>Wingdings</vt:lpstr>
      <vt:lpstr>PPT template SHL 16-9</vt:lpstr>
      <vt:lpstr>think-cell Slide</vt:lpstr>
      <vt:lpstr>Meer kwaliteit en tijd door digitalisering</vt:lpstr>
      <vt:lpstr>Ambitie</vt:lpstr>
      <vt:lpstr>De noodzaak</vt:lpstr>
      <vt:lpstr>Digitalisering op de werkvloer</vt:lpstr>
      <vt:lpstr>PowerPoint-presentatie</vt:lpstr>
      <vt:lpstr> 25 tips &amp; trics voor je dagelijkse praktijk</vt:lpstr>
      <vt:lpstr>Dubbele spaties verwijderen</vt:lpstr>
      <vt:lpstr>Google Lens</vt:lpstr>
      <vt:lpstr>Wachtwoordmanager Lastpass</vt:lpstr>
      <vt:lpstr>De dicteerfunctie</vt:lpstr>
      <vt:lpstr>SOS Help</vt:lpstr>
      <vt:lpstr>Een afbeelding makkelijk verplaatsen in Word</vt:lpstr>
      <vt:lpstr>Tutorials maken</vt:lpstr>
      <vt:lpstr>Hyperlinks verkorten</vt:lpstr>
      <vt:lpstr>Slimmer zoeken op Google</vt:lpstr>
      <vt:lpstr>Blind typen</vt:lpstr>
      <vt:lpstr>If This Than That (IFTT)</vt:lpstr>
      <vt:lpstr>Feedly, relevant nieuws</vt:lpstr>
      <vt:lpstr>Podcasts voor onderweg</vt:lpstr>
      <vt:lpstr>Automodus (niet storen tijdens het rijden)</vt:lpstr>
      <vt:lpstr>Met meer mensen bellen met je iPhone</vt:lpstr>
      <vt:lpstr>Met meerdere mensen Skypen</vt:lpstr>
      <vt:lpstr>Website veranderen in een ‘app’</vt:lpstr>
      <vt:lpstr>Scan bizzcards</vt:lpstr>
      <vt:lpstr>Boefproef</vt:lpstr>
      <vt:lpstr>Navigeren zonder internet</vt:lpstr>
      <vt:lpstr>Geen last van de zon: werken in de tuin!</vt:lpstr>
      <vt:lpstr>Een oude iPad nieuw leven geven </vt:lpstr>
      <vt:lpstr>LinkedInprofiel printen</vt:lpstr>
      <vt:lpstr>Rechtenvrije foto’s en filmpjes</vt:lpstr>
      <vt:lpstr>Prive-tip: Netflix offline bekijken</vt:lpstr>
      <vt:lpstr>Kijk ook eens op: www.digivaardigindezorg.nl en blijf bij! </vt:lpstr>
    </vt:vector>
  </TitlesOfParts>
  <Company>'s Heeren Loo</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Opstal, Lianne van</dc:creator>
  <cp:lastModifiedBy>Suzanne Verheijden</cp:lastModifiedBy>
  <cp:revision>48</cp:revision>
  <dcterms:created xsi:type="dcterms:W3CDTF">2018-09-17T09:59:21Z</dcterms:created>
  <dcterms:modified xsi:type="dcterms:W3CDTF">2019-08-12T13:06:05Z</dcterms:modified>
</cp:coreProperties>
</file>